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4"/>
    <p:sldMasterId id="2147483986" r:id="rId5"/>
  </p:sldMasterIdLst>
  <p:notesMasterIdLst>
    <p:notesMasterId r:id="rId14"/>
  </p:notesMasterIdLst>
  <p:handoutMasterIdLst>
    <p:handoutMasterId r:id="rId15"/>
  </p:handoutMasterIdLst>
  <p:sldIdLst>
    <p:sldId id="2147374589" r:id="rId6"/>
    <p:sldId id="531" r:id="rId7"/>
    <p:sldId id="2147469429" r:id="rId8"/>
    <p:sldId id="2147469437" r:id="rId9"/>
    <p:sldId id="2147469443" r:id="rId10"/>
    <p:sldId id="2147469439" r:id="rId11"/>
    <p:sldId id="2147469446" r:id="rId12"/>
    <p:sldId id="2147469447" r:id="rId13"/>
  </p:sldIdLst>
  <p:sldSz cx="12192000" cy="6858000"/>
  <p:notesSz cx="6858000" cy="9144000"/>
  <p:embeddedFontLst>
    <p:embeddedFont>
      <p:font typeface="Century Gothic" panose="020B0502020202020204" pitchFamily="34" charset="0"/>
      <p:regular r:id="rId16"/>
      <p:bold r:id="rId17"/>
      <p:italic r:id="rId18"/>
      <p:boldItalic r:id="rId19"/>
    </p:embeddedFont>
    <p:embeddedFont>
      <p:font typeface="Georgia" panose="02040502050405020303" pitchFamily="18" charset="0"/>
      <p:regular r:id="rId20"/>
      <p:bold r:id="rId21"/>
      <p:italic r:id="rId22"/>
      <p:boldItalic r:id="rId23"/>
    </p:embeddedFont>
  </p:embeddedFont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132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263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394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526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5657" algn="l" defTabSz="914263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2788" algn="l" defTabSz="914263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199920" algn="l" defTabSz="914263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051" algn="l" defTabSz="914263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4C79C8F6-4913-41BD-984C-5A9FD3B5D8A2}">
          <p14:sldIdLst>
            <p14:sldId id="2147374589"/>
            <p14:sldId id="531"/>
          </p14:sldIdLst>
        </p14:section>
        <p14:section name="Tarlatamab - Innovation Made in Germany" id="{AE3CB199-E0AA-4D9E-9DFF-075D0B9C422D}">
          <p14:sldIdLst>
            <p14:sldId id="2147469429"/>
          </p14:sldIdLst>
        </p14:section>
        <p14:section name="Was macht Tarlatamab aus?" id="{7C616920-9AFF-43DF-AC7D-DDC9E98F7AD0}">
          <p14:sldIdLst>
            <p14:sldId id="2147469437"/>
          </p14:sldIdLst>
        </p14:section>
        <p14:section name="Tarlatamab - Zielen" id="{E35EFBAB-681A-4915-A9BB-687A51DC78EC}">
          <p14:sldIdLst>
            <p14:sldId id="2147469443"/>
          </p14:sldIdLst>
        </p14:section>
        <p14:section name="Tarlatamab - Aktivieren" id="{B33AD8F5-47F7-4A94-936B-E3D8CA9EA7B0}">
          <p14:sldIdLst>
            <p14:sldId id="2147469439"/>
          </p14:sldIdLst>
        </p14:section>
        <p14:section name="Tarlatamab - Angreifen" id="{297B8EF0-910B-41DF-8A7E-18C3E84F135A}">
          <p14:sldIdLst>
            <p14:sldId id="2147469446"/>
            <p14:sldId id="214746944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D543585-3350-58A8-C493-44BBE2878D92}" name="OPRG" initials="OPRG" userId="OPRG" providerId="None"/>
  <p188:author id="{6BDAAABD-3FED-2D62-9B31-C770BD43D2DD}" name="Kirsten Thomas (Porter Novelli)" initials="KT(N" userId="S::kirsten.thomas@porternovelli.com::8e7cd897-7e97-4e7b-9736-07d2f2d87461" providerId="AD"/>
  <p188:author id="{EFCF4FF6-E091-EDA5-0FA4-BF6F628F49BC}" name="Lindsey Fisher (Porter Novelli)" initials="LF(N" userId="S::lindsey.fisher@porternovelli.com::b12492c1-00a5-4d62-bbb7-918bd4ae746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nna Belcher" initials="" lastIdx="56" clrIdx="0"/>
  <p:cmAuthor id="2" name="Weslyn Lu" initials="" lastIdx="139" clrIdx="1"/>
  <p:cmAuthor id="3" name="Taylor DeVoe" initials="" lastIdx="3" clrIdx="2"/>
  <p:cmAuthor id="4" name="David Bickel" initials="" lastIdx="8" clrIdx="3"/>
  <p:cmAuthor id="5" name="Dang, Jacqueline" initials="" lastIdx="4" clrIdx="4"/>
  <p:cmAuthor id="6" name="Jacqueline Dang" initials="" lastIdx="17" clrIdx="5"/>
  <p:cmAuthor id="7" name="Sharon Karlsberg" initials="" lastIdx="4" clrIdx="6"/>
  <p:cmAuthor id="8" name="Jacqueline L Zummo" initials="" lastIdx="1" clrIdx="7"/>
  <p:cmAuthor id="9" name="Suzanne Martinez (IB Health)" initials="" lastIdx="1" clrIdx="8"/>
  <p:cmAuthor id="10" name="Melissa Hoefel (Ketchum)" initials="" lastIdx="14" clrIdx="9"/>
  <p:cmAuthor id="11" name="Heather Gartman" initials="" lastIdx="5" clrIdx="10"/>
  <p:cmAuthor id="12" name="Heather Gartman (Ketchum)" initials="" lastIdx="6" clrIdx="11"/>
  <p:cmAuthor id="13" name="Appelmans, Frederic" initials="" lastIdx="2" clrIdx="12"/>
  <p:cmAuthor id="14" name="OPRG" initials="OPRG" lastIdx="6" clrIdx="13">
    <p:extLst>
      <p:ext uri="{19B8F6BF-5375-455C-9EA6-DF929625EA0E}">
        <p15:presenceInfo xmlns:p15="http://schemas.microsoft.com/office/powerpoint/2012/main" userId="OPRG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1029"/>
    <a:srgbClr val="0063C3"/>
    <a:srgbClr val="E01327"/>
    <a:srgbClr val="615D77"/>
    <a:srgbClr val="910057"/>
    <a:srgbClr val="FFFFFF"/>
    <a:srgbClr val="F24405"/>
    <a:srgbClr val="EFEFEF"/>
    <a:srgbClr val="8899AA"/>
    <a:srgbClr val="ADAD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BBF489E-FDD7-851B-1B80-023F40372AB6}" v="1" dt="2026-04-23T13:28:24.947"/>
    <p1510:client id="{DE8EDC0E-6412-A37B-2D3B-F5A098E954FE}" v="3" dt="2026-04-23T12:10:06.0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54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font" Target="fonts/font3.fntdata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font" Target="fonts/font6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font" Target="fonts/font2.fntdata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font" Target="fonts/font4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theme" Target="theme/theme1.xml"/><Relationship Id="rId30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BC0CC24-5AAB-1E4A-8425-7C8B5A8520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5AC3D3-1225-E741-9BA6-95F30809155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E2B57F61-F687-A64D-889F-CFC7C931604F}" type="datetimeFigureOut">
              <a:rPr lang="en-US">
                <a:latin typeface="Arial" panose="020B0604020202020204" pitchFamily="34" charset="0"/>
              </a:rPr>
              <a:pPr>
                <a:defRPr/>
              </a:pPr>
              <a:t>5/22/2026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93AC08-FBCB-644B-A186-FD82D5F3BD7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0B92C5-758E-4447-8685-FCB792EA1E1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78B9DC18-F474-5144-AF82-74E2A1BE2B4F}" type="slidenum">
              <a:rPr lang="en-US">
                <a:latin typeface="Arial" panose="020B0604020202020204" pitchFamily="34" charset="0"/>
              </a:rPr>
              <a:pPr>
                <a:defRPr/>
              </a:p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92A40C6-363A-D54C-A0AD-9B3D25289B4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b="0" i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D52D596-22B1-C44A-9273-1D6920BF6D9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0" i="0" smtClean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568C741-784D-C14F-95B2-75F92A637A65}" type="datetimeFigureOut">
              <a:rPr lang="en-US" smtClean="0"/>
              <a:pPr>
                <a:defRPr/>
              </a:pPr>
              <a:t>5/22/2026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8B5BF6C-86BB-BF43-9A11-02A312F902F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2E2789F-7479-3149-9A68-AF1616D6EE5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668972-DBE2-E648-853D-5A7FDFD3BE3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b="0" i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358963-5B99-514C-88A2-B4C11A880B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0" i="0" smtClean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FC921214-E832-274D-A515-2E1186F647F5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132" algn="l" rtl="0" fontAlgn="base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263" algn="l" rtl="0" fontAlgn="base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394" algn="l" rtl="0" fontAlgn="base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526" algn="l" rtl="0" fontAlgn="base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8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1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latin typeface="+mn-lt"/>
              </a:rPr>
              <a:t>To insert a new image, delete the current image.</a:t>
            </a:r>
          </a:p>
          <a:p>
            <a:pPr algn="l">
              <a:spcBef>
                <a:spcPts val="0"/>
              </a:spcBef>
            </a:pPr>
            <a:endParaRPr lang="en-US" sz="1200">
              <a:latin typeface="+mn-lt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latin typeface="+mn-lt"/>
              </a:rPr>
              <a:t>Click placeholder icon to insert new image.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>
              <a:latin typeface="+mn-lt"/>
            </a:endParaRPr>
          </a:p>
          <a:p>
            <a:pPr algn="l">
              <a:spcBef>
                <a:spcPts val="0"/>
              </a:spcBef>
            </a:pPr>
            <a:r>
              <a:rPr lang="en-US" sz="1200" b="1">
                <a:latin typeface="+mn-lt"/>
              </a:rPr>
              <a:t>NOTE: </a:t>
            </a:r>
            <a:r>
              <a:rPr lang="en-US" sz="1200">
                <a:latin typeface="+mn-lt"/>
              </a:rPr>
              <a:t>PowerPoint will make the new picture fit the placeholder without distorting it. </a:t>
            </a:r>
          </a:p>
          <a:p>
            <a:pPr algn="l">
              <a:spcBef>
                <a:spcPts val="0"/>
              </a:spcBef>
            </a:pPr>
            <a:br>
              <a:rPr lang="en-US" sz="1200">
                <a:latin typeface="+mn-lt"/>
              </a:rPr>
            </a:br>
            <a:r>
              <a:rPr lang="en-US" sz="1200">
                <a:latin typeface="+mn-lt"/>
              </a:rPr>
              <a:t>Since the placeholder for the image is 3.59”H x 13.33”W, inserting an image with similar dimensions will yield the best results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C921214-E832-274D-A515-2E1186F647F5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241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B74507-65D2-479A-A35E-CFF865AD5E4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51246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C921214-E832-274D-A515-2E1186F647F5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53585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C921214-E832-274D-A515-2E1186F647F5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7145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8B41F4-8216-4831-9A90-3E3B196B13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368E4B1-4A09-4DAB-B301-1EC58F34EB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99660A5-7D88-FD3D-022C-202C6D042B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8A158FA-FD1B-BF2D-D3DC-64F1B086C9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C921214-E832-274D-A515-2E1186F647F5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7103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583950-7C8D-EFEA-651D-718392D85D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C085E49-CB1D-621F-8754-E9A8500970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1203359-3CEE-78CA-CA68-C779ADF834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0DE5C2F-91EB-8FD0-2AD0-45D6ED2E38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C921214-E832-274D-A515-2E1186F647F5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7071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94D87E-E138-5383-13FA-5DDCB5C2A2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F952F1B-2B82-439F-64D1-1A24ACA0B4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8607E4C-4F53-8BA2-8A92-27F1CB55F1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473E5B5-9089-A704-F799-8B0CE56EBD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C921214-E832-274D-A515-2E1186F647F5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10959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z="1000">
              <a:latin typeface="Arial" charset="0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839" indent="-285707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2829" indent="-228566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599961" indent="-228566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092" indent="-228566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223" indent="-228566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356" indent="-228566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8487" indent="-228566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5618" indent="-228566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8E998FA-F775-48D4-AB70-D7432357E6F5}" type="slidenum">
              <a:rPr kumimoji="0" lang="de-DE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alt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45177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4.svg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1_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50B24137-05D7-FA7F-8E73-50CFAF0BB3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2401" y="5659830"/>
            <a:ext cx="8997028" cy="276999"/>
          </a:xfrm>
        </p:spPr>
        <p:txBody>
          <a:bodyPr t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4770400-B5E3-8E86-16D3-74444D1AD3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401" y="4074160"/>
            <a:ext cx="8997024" cy="129730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90000"/>
              </a:lnSpc>
              <a:defRPr sz="4000" b="0" i="0" cap="none" spc="0" baseline="0">
                <a:solidFill>
                  <a:schemeClr val="bg1"/>
                </a:solidFill>
                <a:effectLst/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4A9F4E6B-1C6D-07C3-BCA9-E78964CD84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401" y="5958654"/>
            <a:ext cx="8997028" cy="215444"/>
          </a:xfrm>
        </p:spPr>
        <p:txBody>
          <a:bodyPr t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8BA9991-E50E-8965-C781-50935FCA9F5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7413" y="5699303"/>
            <a:ext cx="1760018" cy="419052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AA4AD52-FE9E-9AA0-830D-340E2BDD92F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29631"/>
            <a:ext cx="12192000" cy="3285067"/>
          </a:xfrm>
          <a:custGeom>
            <a:avLst/>
            <a:gdLst>
              <a:gd name="connsiteX0" fmla="*/ 2021205 w 12192000"/>
              <a:gd name="connsiteY0" fmla="*/ 40 h 3285067"/>
              <a:gd name="connsiteX1" fmla="*/ 12192000 w 12192000"/>
              <a:gd name="connsiteY1" fmla="*/ 40 h 3285067"/>
              <a:gd name="connsiteX2" fmla="*/ 12192000 w 12192000"/>
              <a:gd name="connsiteY2" fmla="*/ 3285067 h 3285067"/>
              <a:gd name="connsiteX3" fmla="*/ 0 w 12192000"/>
              <a:gd name="connsiteY3" fmla="*/ 3285067 h 3285067"/>
              <a:gd name="connsiteX4" fmla="*/ 0 w 12192000"/>
              <a:gd name="connsiteY4" fmla="*/ 1506224 h 3285067"/>
              <a:gd name="connsiteX5" fmla="*/ 847090 w 12192000"/>
              <a:gd name="connsiteY5" fmla="*/ 409722 h 3285067"/>
              <a:gd name="connsiteX6" fmla="*/ 2021205 w 12192000"/>
              <a:gd name="connsiteY6" fmla="*/ 40 h 3285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285067">
                <a:moveTo>
                  <a:pt x="2021205" y="40"/>
                </a:moveTo>
                <a:lnTo>
                  <a:pt x="12192000" y="40"/>
                </a:lnTo>
                <a:lnTo>
                  <a:pt x="12192000" y="3285067"/>
                </a:lnTo>
                <a:lnTo>
                  <a:pt x="0" y="3285067"/>
                </a:lnTo>
                <a:lnTo>
                  <a:pt x="0" y="1506224"/>
                </a:lnTo>
                <a:cubicBezTo>
                  <a:pt x="203835" y="1107957"/>
                  <a:pt x="462280" y="699543"/>
                  <a:pt x="847090" y="409722"/>
                </a:cubicBezTo>
                <a:cubicBezTo>
                  <a:pt x="1038225" y="266397"/>
                  <a:pt x="1391920" y="-3765"/>
                  <a:pt x="2021205" y="4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81214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0CCE08-5C50-76BD-D4DD-16099D6DCC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5B9DC50-0441-E746-AF06-711F2EE7406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5127" y="2109191"/>
            <a:ext cx="2510063" cy="3887242"/>
          </a:xfrm>
        </p:spPr>
        <p:txBody>
          <a:bodyPr/>
          <a:lstStyle>
            <a:lvl1pPr marL="177800" indent="-1778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b="0" cap="none" baseline="0">
                <a:latin typeface="+mn-lt"/>
              </a:defRPr>
            </a:lvl1pPr>
            <a:lvl2pPr marL="342900" indent="-165100">
              <a:spcBef>
                <a:spcPts val="400"/>
              </a:spcBef>
              <a:buClr>
                <a:schemeClr val="tx1"/>
              </a:buClr>
              <a:buSzPct val="100000"/>
              <a:buFont typeface="System Font Regular"/>
              <a:buChar char="–"/>
              <a:tabLst/>
              <a:defRPr sz="1400">
                <a:latin typeface="+mn-lt"/>
              </a:defRPr>
            </a:lvl2pPr>
            <a:lvl3pPr marL="461963" indent="-142875"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400">
                <a:latin typeface="+mn-lt"/>
              </a:defRPr>
            </a:lvl3pPr>
            <a:lvl4pPr marL="520700" indent="-141288">
              <a:buClr>
                <a:schemeClr val="tx1"/>
              </a:buClr>
              <a:buFont typeface="System Font Regular"/>
              <a:buChar char="–"/>
              <a:tabLst/>
              <a:defRPr sz="1200">
                <a:latin typeface="+mn-lt"/>
              </a:defRPr>
            </a:lvl4pPr>
            <a:lvl5pPr marL="628650" indent="-952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1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A99F829-0914-F61A-4981-09F735503B7B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34254" y="2109191"/>
            <a:ext cx="2510063" cy="3887242"/>
          </a:xfrm>
        </p:spPr>
        <p:txBody>
          <a:bodyPr/>
          <a:lstStyle>
            <a:lvl1pPr marL="177800" indent="-1778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b="0" cap="none" baseline="0">
                <a:latin typeface="+mn-lt"/>
              </a:defRPr>
            </a:lvl1pPr>
            <a:lvl2pPr marL="342900" indent="-165100">
              <a:spcBef>
                <a:spcPts val="400"/>
              </a:spcBef>
              <a:buClr>
                <a:schemeClr val="tx1"/>
              </a:buClr>
              <a:buSzPct val="100000"/>
              <a:buFont typeface="System Font Regular"/>
              <a:buChar char="–"/>
              <a:tabLst/>
              <a:defRPr sz="1400">
                <a:latin typeface="+mn-lt"/>
              </a:defRPr>
            </a:lvl2pPr>
            <a:lvl3pPr marL="461963" indent="-142875"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400">
                <a:latin typeface="+mn-lt"/>
              </a:defRPr>
            </a:lvl3pPr>
            <a:lvl4pPr marL="520700" indent="-141288">
              <a:buClr>
                <a:schemeClr val="tx1"/>
              </a:buClr>
              <a:buFont typeface="System Font Regular"/>
              <a:buChar char="–"/>
              <a:tabLst/>
              <a:defRPr sz="1200">
                <a:latin typeface="+mn-lt"/>
              </a:defRPr>
            </a:lvl4pPr>
            <a:lvl5pPr marL="628650" indent="-952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1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92BE9F-E12A-7C73-2E4C-493C9E4C234E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03381" y="2109191"/>
            <a:ext cx="2510063" cy="3887242"/>
          </a:xfrm>
        </p:spPr>
        <p:txBody>
          <a:bodyPr/>
          <a:lstStyle>
            <a:lvl1pPr marL="177800" indent="-1778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b="0" cap="none" baseline="0">
                <a:latin typeface="+mn-lt"/>
              </a:defRPr>
            </a:lvl1pPr>
            <a:lvl2pPr marL="342900" indent="-165100">
              <a:spcBef>
                <a:spcPts val="400"/>
              </a:spcBef>
              <a:buClr>
                <a:schemeClr val="tx1"/>
              </a:buClr>
              <a:buSzPct val="100000"/>
              <a:buFont typeface="System Font Regular"/>
              <a:buChar char="–"/>
              <a:tabLst/>
              <a:defRPr sz="1400">
                <a:latin typeface="+mn-lt"/>
              </a:defRPr>
            </a:lvl2pPr>
            <a:lvl3pPr marL="461963" indent="-142875"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400">
                <a:latin typeface="+mn-lt"/>
              </a:defRPr>
            </a:lvl3pPr>
            <a:lvl4pPr marL="520700" indent="-141288">
              <a:buClr>
                <a:schemeClr val="tx1"/>
              </a:buClr>
              <a:buFont typeface="System Font Regular"/>
              <a:buChar char="–"/>
              <a:tabLst/>
              <a:defRPr sz="1200">
                <a:latin typeface="+mn-lt"/>
              </a:defRPr>
            </a:lvl4pPr>
            <a:lvl5pPr marL="628650" indent="-952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1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7EC0B4D-20D7-2793-5342-1B40958451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5287" y="1311480"/>
            <a:ext cx="2510063" cy="626036"/>
          </a:xfrm>
          <a:gradFill>
            <a:gsLst>
              <a:gs pos="96000">
                <a:schemeClr val="bg1"/>
              </a:gs>
              <a:gs pos="97000">
                <a:schemeClr val="accent1"/>
              </a:gs>
            </a:gsLst>
            <a:lin ang="5400000" scaled="0"/>
          </a:gradFill>
        </p:spPr>
        <p:txBody>
          <a:bodyPr bIns="73152"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EA6DAD3C-F47B-4908-A3FF-21D4F117D8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41028" y="1311480"/>
            <a:ext cx="2510063" cy="626036"/>
          </a:xfrm>
          <a:gradFill>
            <a:gsLst>
              <a:gs pos="96000">
                <a:schemeClr val="bg1"/>
              </a:gs>
              <a:gs pos="97000">
                <a:schemeClr val="accent1"/>
              </a:gs>
            </a:gsLst>
            <a:lin ang="5400000" scaled="0"/>
          </a:gradFill>
        </p:spPr>
        <p:txBody>
          <a:bodyPr bIns="73152"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C37B60E2-92F2-4836-A37D-B8B9937C309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06769" y="1311480"/>
            <a:ext cx="2510063" cy="626036"/>
          </a:xfrm>
          <a:gradFill>
            <a:gsLst>
              <a:gs pos="96000">
                <a:schemeClr val="bg1"/>
              </a:gs>
              <a:gs pos="97000">
                <a:schemeClr val="accent1"/>
              </a:gs>
            </a:gsLst>
            <a:lin ang="5400000" scaled="0"/>
          </a:gradFill>
        </p:spPr>
        <p:txBody>
          <a:bodyPr bIns="73152"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CDD12E-A6DF-0080-E531-15E36412702E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72509" y="2109191"/>
            <a:ext cx="2510063" cy="3887242"/>
          </a:xfrm>
        </p:spPr>
        <p:txBody>
          <a:bodyPr/>
          <a:lstStyle>
            <a:lvl1pPr marL="177800" indent="-1778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b="0" cap="none" baseline="0">
                <a:latin typeface="+mn-lt"/>
              </a:defRPr>
            </a:lvl1pPr>
            <a:lvl2pPr marL="342900" indent="-165100">
              <a:spcBef>
                <a:spcPts val="400"/>
              </a:spcBef>
              <a:buClr>
                <a:schemeClr val="tx1"/>
              </a:buClr>
              <a:buSzPct val="100000"/>
              <a:buFont typeface="System Font Regular"/>
              <a:buChar char="–"/>
              <a:tabLst/>
              <a:defRPr sz="1400">
                <a:latin typeface="+mn-lt"/>
              </a:defRPr>
            </a:lvl2pPr>
            <a:lvl3pPr marL="461963" indent="-142875"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400">
                <a:latin typeface="+mn-lt"/>
              </a:defRPr>
            </a:lvl3pPr>
            <a:lvl4pPr marL="520700" indent="-141288">
              <a:buClr>
                <a:schemeClr val="tx1"/>
              </a:buClr>
              <a:buFont typeface="System Font Regular"/>
              <a:buChar char="–"/>
              <a:tabLst/>
              <a:defRPr sz="1200">
                <a:latin typeface="+mn-lt"/>
              </a:defRPr>
            </a:lvl4pPr>
            <a:lvl5pPr marL="628650" indent="-952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1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074DC10F-49CC-8F0A-B756-3DD64809486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272509" y="1313387"/>
            <a:ext cx="2510063" cy="626036"/>
          </a:xfrm>
          <a:gradFill>
            <a:gsLst>
              <a:gs pos="96000">
                <a:schemeClr val="bg1"/>
              </a:gs>
              <a:gs pos="97000">
                <a:schemeClr val="accent1"/>
              </a:gs>
            </a:gsLst>
            <a:lin ang="5400000" scaled="0"/>
          </a:gradFill>
        </p:spPr>
        <p:txBody>
          <a:bodyPr bIns="73152"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463460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0CCE08-5C50-76BD-D4DD-16099D6DCC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5B9DC50-0441-E746-AF06-711F2EE7406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5128" y="2109191"/>
            <a:ext cx="2149472" cy="3887242"/>
          </a:xfrm>
        </p:spPr>
        <p:txBody>
          <a:bodyPr/>
          <a:lstStyle>
            <a:lvl1pPr marL="177800" indent="-1778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b="0" cap="none" baseline="0">
                <a:latin typeface="+mn-lt"/>
              </a:defRPr>
            </a:lvl1pPr>
            <a:lvl2pPr marL="342900" indent="-165100">
              <a:spcBef>
                <a:spcPts val="400"/>
              </a:spcBef>
              <a:buClr>
                <a:schemeClr val="tx1"/>
              </a:buClr>
              <a:buSzPct val="100000"/>
              <a:buFont typeface="System Font Regular"/>
              <a:buChar char="–"/>
              <a:tabLst/>
              <a:defRPr sz="1200">
                <a:latin typeface="+mn-lt"/>
              </a:defRPr>
            </a:lvl2pPr>
            <a:lvl3pPr marL="461963" indent="-142875"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200">
                <a:latin typeface="+mn-lt"/>
              </a:defRPr>
            </a:lvl3pPr>
            <a:lvl4pPr marL="520700" indent="-141288">
              <a:buClr>
                <a:schemeClr val="tx1"/>
              </a:buClr>
              <a:buFont typeface="System Font Regular"/>
              <a:buChar char="–"/>
              <a:tabLst/>
              <a:defRPr sz="1100">
                <a:latin typeface="+mn-lt"/>
              </a:defRPr>
            </a:lvl4pPr>
            <a:lvl5pPr marL="628650" indent="-952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05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A99F829-0914-F61A-4981-09F735503B7B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2699978" y="2109191"/>
            <a:ext cx="2149472" cy="3887242"/>
          </a:xfrm>
        </p:spPr>
        <p:txBody>
          <a:bodyPr/>
          <a:lstStyle>
            <a:lvl1pPr marL="177800" indent="-1778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b="0" cap="none" baseline="0">
                <a:latin typeface="+mn-lt"/>
              </a:defRPr>
            </a:lvl1pPr>
            <a:lvl2pPr marL="342900" indent="-165100">
              <a:spcBef>
                <a:spcPts val="400"/>
              </a:spcBef>
              <a:buClr>
                <a:schemeClr val="tx1"/>
              </a:buClr>
              <a:buSzPct val="100000"/>
              <a:buFont typeface="System Font Regular"/>
              <a:buChar char="–"/>
              <a:tabLst/>
              <a:defRPr sz="1200">
                <a:latin typeface="+mn-lt"/>
              </a:defRPr>
            </a:lvl2pPr>
            <a:lvl3pPr marL="461963" indent="-142875"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200">
                <a:latin typeface="+mn-lt"/>
              </a:defRPr>
            </a:lvl3pPr>
            <a:lvl4pPr marL="520700" indent="-141288">
              <a:buClr>
                <a:schemeClr val="tx1"/>
              </a:buClr>
              <a:buFont typeface="System Font Regular"/>
              <a:buChar char="–"/>
              <a:tabLst/>
              <a:defRPr sz="1100">
                <a:latin typeface="+mn-lt"/>
              </a:defRPr>
            </a:lvl4pPr>
            <a:lvl5pPr marL="628650" indent="-952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05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92BE9F-E12A-7C73-2E4C-493C9E4C234E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034828" y="2109191"/>
            <a:ext cx="2149472" cy="3887242"/>
          </a:xfrm>
        </p:spPr>
        <p:txBody>
          <a:bodyPr/>
          <a:lstStyle>
            <a:lvl1pPr marL="177800" indent="-1778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b="0" cap="none" baseline="0">
                <a:latin typeface="+mn-lt"/>
              </a:defRPr>
            </a:lvl1pPr>
            <a:lvl2pPr marL="342900" indent="-165100">
              <a:spcBef>
                <a:spcPts val="400"/>
              </a:spcBef>
              <a:buClr>
                <a:schemeClr val="tx1"/>
              </a:buClr>
              <a:buSzPct val="100000"/>
              <a:buFont typeface="System Font Regular"/>
              <a:buChar char="–"/>
              <a:tabLst/>
              <a:defRPr sz="1200">
                <a:latin typeface="+mn-lt"/>
              </a:defRPr>
            </a:lvl2pPr>
            <a:lvl3pPr marL="461963" indent="-142875"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200">
                <a:latin typeface="+mn-lt"/>
              </a:defRPr>
            </a:lvl3pPr>
            <a:lvl4pPr marL="520700" indent="-141288">
              <a:buClr>
                <a:schemeClr val="tx1"/>
              </a:buClr>
              <a:buFont typeface="System Font Regular"/>
              <a:buChar char="–"/>
              <a:tabLst/>
              <a:defRPr sz="1100">
                <a:latin typeface="+mn-lt"/>
              </a:defRPr>
            </a:lvl4pPr>
            <a:lvl5pPr marL="628650" indent="-952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05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7EC0B4D-20D7-2793-5342-1B40958451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5288" y="1311480"/>
            <a:ext cx="2149472" cy="626036"/>
          </a:xfrm>
          <a:gradFill>
            <a:gsLst>
              <a:gs pos="96000">
                <a:schemeClr val="bg1"/>
              </a:gs>
              <a:gs pos="97000">
                <a:schemeClr val="accent1"/>
              </a:gs>
            </a:gsLst>
            <a:lin ang="5400000" scaled="0"/>
          </a:gradFill>
        </p:spPr>
        <p:txBody>
          <a:bodyPr bIns="73152"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EA6DAD3C-F47B-4908-A3FF-21D4F117D8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07598" y="1311480"/>
            <a:ext cx="2149472" cy="626036"/>
          </a:xfrm>
          <a:gradFill>
            <a:gsLst>
              <a:gs pos="96000">
                <a:schemeClr val="bg1"/>
              </a:gs>
              <a:gs pos="97000">
                <a:schemeClr val="accent1"/>
              </a:gs>
            </a:gsLst>
            <a:lin ang="5400000" scaled="0"/>
          </a:gradFill>
        </p:spPr>
        <p:txBody>
          <a:bodyPr bIns="73152"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C37B60E2-92F2-4836-A37D-B8B9937C309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9908" y="1311480"/>
            <a:ext cx="2149472" cy="626036"/>
          </a:xfrm>
          <a:gradFill>
            <a:gsLst>
              <a:gs pos="96000">
                <a:schemeClr val="bg1"/>
              </a:gs>
              <a:gs pos="97000">
                <a:schemeClr val="accent1"/>
              </a:gs>
            </a:gsLst>
            <a:lin ang="5400000" scaled="0"/>
          </a:gradFill>
        </p:spPr>
        <p:txBody>
          <a:bodyPr bIns="73152"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CDD12E-A6DF-0080-E531-15E36412702E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369678" y="2109191"/>
            <a:ext cx="2149472" cy="3887242"/>
          </a:xfrm>
        </p:spPr>
        <p:txBody>
          <a:bodyPr/>
          <a:lstStyle>
            <a:lvl1pPr marL="177800" indent="-1778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b="0" cap="none" baseline="0">
                <a:latin typeface="+mn-lt"/>
              </a:defRPr>
            </a:lvl1pPr>
            <a:lvl2pPr marL="342900" indent="-165100">
              <a:spcBef>
                <a:spcPts val="400"/>
              </a:spcBef>
              <a:buClr>
                <a:schemeClr val="tx1"/>
              </a:buClr>
              <a:buSzPct val="100000"/>
              <a:buFont typeface="System Font Regular"/>
              <a:buChar char="–"/>
              <a:tabLst/>
              <a:defRPr sz="1200">
                <a:latin typeface="+mn-lt"/>
              </a:defRPr>
            </a:lvl2pPr>
            <a:lvl3pPr marL="461963" indent="-142875"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200">
                <a:latin typeface="+mn-lt"/>
              </a:defRPr>
            </a:lvl3pPr>
            <a:lvl4pPr marL="520700" indent="-141288">
              <a:buClr>
                <a:schemeClr val="tx1"/>
              </a:buClr>
              <a:buFont typeface="System Font Regular"/>
              <a:buChar char="–"/>
              <a:tabLst/>
              <a:defRPr sz="1100">
                <a:latin typeface="+mn-lt"/>
              </a:defRPr>
            </a:lvl4pPr>
            <a:lvl5pPr marL="628650" indent="-952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05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074DC10F-49CC-8F0A-B756-3DD64809486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72218" y="1313387"/>
            <a:ext cx="2149472" cy="626036"/>
          </a:xfrm>
          <a:gradFill>
            <a:gsLst>
              <a:gs pos="96000">
                <a:schemeClr val="bg1"/>
              </a:gs>
              <a:gs pos="97000">
                <a:schemeClr val="accent1"/>
              </a:gs>
            </a:gsLst>
            <a:lin ang="5400000" scaled="0"/>
          </a:gradFill>
        </p:spPr>
        <p:txBody>
          <a:bodyPr bIns="73152"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D7C7475-BE74-CE95-3522-B59D82800086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704527" y="2109191"/>
            <a:ext cx="2149472" cy="3887242"/>
          </a:xfrm>
        </p:spPr>
        <p:txBody>
          <a:bodyPr/>
          <a:lstStyle>
            <a:lvl1pPr marL="177800" indent="-1778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b="0" cap="none" baseline="0">
                <a:latin typeface="+mn-lt"/>
              </a:defRPr>
            </a:lvl1pPr>
            <a:lvl2pPr marL="342900" indent="-165100">
              <a:spcBef>
                <a:spcPts val="400"/>
              </a:spcBef>
              <a:buClr>
                <a:schemeClr val="tx1"/>
              </a:buClr>
              <a:buSzPct val="100000"/>
              <a:buFont typeface="System Font Regular"/>
              <a:buChar char="–"/>
              <a:tabLst/>
              <a:defRPr sz="1200">
                <a:latin typeface="+mn-lt"/>
              </a:defRPr>
            </a:lvl2pPr>
            <a:lvl3pPr marL="461963" indent="-142875"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200">
                <a:latin typeface="+mn-lt"/>
              </a:defRPr>
            </a:lvl3pPr>
            <a:lvl4pPr marL="520700" indent="-141288">
              <a:buClr>
                <a:schemeClr val="tx1"/>
              </a:buClr>
              <a:buFont typeface="System Font Regular"/>
              <a:buChar char="–"/>
              <a:tabLst/>
              <a:defRPr sz="1100">
                <a:latin typeface="+mn-lt"/>
              </a:defRPr>
            </a:lvl4pPr>
            <a:lvl5pPr marL="628650" indent="-952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05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2E2FB0DB-B0BF-4454-DE73-7A3DCBA1D6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04527" y="1313387"/>
            <a:ext cx="2149472" cy="626036"/>
          </a:xfrm>
          <a:gradFill>
            <a:gsLst>
              <a:gs pos="96000">
                <a:schemeClr val="bg1"/>
              </a:gs>
              <a:gs pos="97000">
                <a:schemeClr val="accent1"/>
              </a:gs>
            </a:gsLst>
            <a:lin ang="5400000" scaled="0"/>
          </a:gradFill>
        </p:spPr>
        <p:txBody>
          <a:bodyPr bIns="73152"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640471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5A6A7-CE3D-36B6-ABCD-CAC4461F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A7BA44-3559-7036-C44F-204D1B4593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067002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5A6A7-CE3D-36B6-ABCD-CAC4461F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A7BA44-3559-7036-C44F-204D1B4593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56544E-1825-C422-1713-3D0EDBD2620A}"/>
              </a:ext>
            </a:extLst>
          </p:cNvPr>
          <p:cNvSpPr txBox="1"/>
          <p:nvPr userDrawn="1"/>
        </p:nvSpPr>
        <p:spPr>
          <a:xfrm>
            <a:off x="11010900" y="6591300"/>
            <a:ext cx="823944" cy="1398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>
                <a:latin typeface="+mn-lt"/>
                <a:ea typeface="MS Mincho" panose="02020609040205080304" pitchFamily="49" charset="-128"/>
              </a:rPr>
              <a:t>© Amgen 2023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97ED4DE-3D5F-466A-A86D-DBA7440307C1}"/>
              </a:ext>
            </a:extLst>
          </p:cNvPr>
          <p:cNvSpPr>
            <a:spLocks noGrp="1" noChangeArrowheads="1"/>
          </p:cNvSpPr>
          <p:nvPr userDrawn="1"/>
        </p:nvSpPr>
        <p:spPr bwMode="gray">
          <a:xfrm>
            <a:off x="365126" y="6526079"/>
            <a:ext cx="409575" cy="2083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defTabSz="775867" eaLnBrk="1" hangingPunct="1">
              <a:defRPr/>
            </a:pPr>
            <a:fld id="{3DBC93D6-C358-9648-9CB7-FB101C9037AB}" type="slidenum">
              <a:rPr lang="en-US" sz="800" b="0">
                <a:solidFill>
                  <a:schemeClr val="tx1"/>
                </a:solidFill>
                <a:latin typeface="Century Gothic" panose="020B0502020202020204" pitchFamily="34" charset="0"/>
              </a:rPr>
              <a:pPr algn="l" defTabSz="775867" eaLnBrk="1" hangingPunct="1"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964967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6">
            <a:extLst>
              <a:ext uri="{FF2B5EF4-FFF2-40B4-BE49-F238E27FC236}">
                <a16:creationId xmlns:a16="http://schemas.microsoft.com/office/drawing/2014/main" id="{E03C9051-71C2-8818-7195-7AFD1A616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9632315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17022A7-4BA8-FCB7-5074-1B56CECD6D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5125" y="1574800"/>
            <a:ext cx="9632315" cy="4509008"/>
          </a:xfrm>
        </p:spPr>
        <p:txBody>
          <a:bodyPr/>
          <a:lstStyle>
            <a:lvl1pPr marL="749808" indent="-749808">
              <a:lnSpc>
                <a:spcPct val="90000"/>
              </a:lnSpc>
              <a:spcBef>
                <a:spcPts val="1800"/>
              </a:spcBef>
              <a:buClr>
                <a:schemeClr val="accent1"/>
              </a:buClr>
              <a:buSzPct val="100000"/>
              <a:buFont typeface="+mj-lt"/>
              <a:buAutoNum type="arabicPlain"/>
              <a:tabLst/>
              <a:defRPr sz="2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D2290F0C-DA2A-C1D7-AF41-1138CFCFDBD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7923183" y="2697829"/>
            <a:ext cx="6381534" cy="1642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00B4937-B3BA-1C4F-6C77-7CD22BF2BE35}"/>
              </a:ext>
            </a:extLst>
          </p:cNvPr>
          <p:cNvSpPr>
            <a:spLocks noGrp="1" noChangeArrowheads="1"/>
          </p:cNvSpPr>
          <p:nvPr userDrawn="1"/>
        </p:nvSpPr>
        <p:spPr bwMode="gray">
          <a:xfrm>
            <a:off x="365126" y="6526079"/>
            <a:ext cx="409575" cy="2083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defTabSz="775867" eaLnBrk="1" hangingPunct="1">
              <a:defRPr/>
            </a:pPr>
            <a:fld id="{3DBC93D6-C358-9648-9CB7-FB101C9037AB}" type="slidenum">
              <a:rPr lang="en-US" sz="800" b="0">
                <a:solidFill>
                  <a:schemeClr val="tx1"/>
                </a:solidFill>
                <a:latin typeface="Century Gothic" panose="020B0502020202020204" pitchFamily="34" charset="0"/>
              </a:rPr>
              <a:pPr algn="l" defTabSz="775867" eaLnBrk="1" hangingPunct="1"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46637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- Customiz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6">
            <a:extLst>
              <a:ext uri="{FF2B5EF4-FFF2-40B4-BE49-F238E27FC236}">
                <a16:creationId xmlns:a16="http://schemas.microsoft.com/office/drawing/2014/main" id="{E03C9051-71C2-8818-7195-7AFD1A616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9632315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D2290F0C-DA2A-C1D7-AF41-1138CFCFDBD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7923183" y="2697829"/>
            <a:ext cx="6381534" cy="1642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D532C8A-653C-7156-C56C-C9BA46B15D9E}"/>
              </a:ext>
            </a:extLst>
          </p:cNvPr>
          <p:cNvSpPr>
            <a:spLocks noGrp="1" noChangeArrowheads="1"/>
          </p:cNvSpPr>
          <p:nvPr userDrawn="1"/>
        </p:nvSpPr>
        <p:spPr bwMode="gray">
          <a:xfrm>
            <a:off x="365126" y="6526079"/>
            <a:ext cx="409575" cy="2083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defTabSz="775867" eaLnBrk="1" hangingPunct="1">
              <a:defRPr/>
            </a:pPr>
            <a:fld id="{3DBC93D6-C358-9648-9CB7-FB101C9037AB}" type="slidenum">
              <a:rPr lang="en-US" sz="800" b="0">
                <a:solidFill>
                  <a:schemeClr val="tx1"/>
                </a:solidFill>
                <a:latin typeface="Century Gothic" panose="020B0502020202020204" pitchFamily="34" charset="0"/>
              </a:rPr>
              <a:pPr algn="l" defTabSz="775867" eaLnBrk="1" hangingPunct="1"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231559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A13FB6-A12E-933F-8817-E76E400A88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126" y="1574800"/>
            <a:ext cx="5446394" cy="413745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  <a:defRPr sz="1400" b="1" cap="all" baseline="0"/>
            </a:lvl1pPr>
            <a:lvl2pPr marL="344488" indent="-344488"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577850" indent="-203200">
              <a:buSzPct val="90000"/>
              <a:buFont typeface="System Font Regular"/>
              <a:buChar char="◦"/>
              <a:tabLst/>
              <a:defRPr sz="1600"/>
            </a:lvl3pPr>
            <a:lvl4pPr marL="750888" indent="-152400">
              <a:buFont typeface="System Font Regular"/>
              <a:buChar char="–"/>
              <a:tabLst/>
              <a:defRPr sz="1400"/>
            </a:lvl4pPr>
            <a:lvl5pPr marL="863600" indent="-101600">
              <a:buSzPct val="100000"/>
              <a:buFont typeface="Arial" panose="020B0604020202020204" pitchFamily="34" charset="0"/>
              <a:buChar char="•"/>
              <a:tabLst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0CCE08-5C50-76BD-D4DD-16099D6DCC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CA76205D-A082-F7C7-7627-956487C830EE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410326" y="1574800"/>
            <a:ext cx="5446394" cy="413745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  <a:defRPr sz="1400" b="1" cap="all" baseline="0"/>
            </a:lvl1pPr>
            <a:lvl2pPr marL="344488" indent="-344488"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577850" indent="-203200">
              <a:buSzPct val="90000"/>
              <a:buFont typeface="System Font Regular"/>
              <a:buChar char="◦"/>
              <a:tabLst/>
              <a:defRPr sz="1600"/>
            </a:lvl3pPr>
            <a:lvl4pPr marL="750888" indent="-152400">
              <a:buFont typeface="System Font Regular"/>
              <a:buChar char="–"/>
              <a:tabLst/>
              <a:defRPr sz="1400"/>
            </a:lvl4pPr>
            <a:lvl5pPr marL="863600" indent="-101600">
              <a:buSzPct val="100000"/>
              <a:buFont typeface="Arial" panose="020B0604020202020204" pitchFamily="34" charset="0"/>
              <a:buChar char="•"/>
              <a:tabLst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30132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0097200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DBF1C7D-11D0-233B-4E6A-74BE1B917F1D}"/>
              </a:ext>
            </a:extLst>
          </p:cNvPr>
          <p:cNvSpPr/>
          <p:nvPr userDrawn="1"/>
        </p:nvSpPr>
        <p:spPr>
          <a:xfrm>
            <a:off x="9303657" y="5954256"/>
            <a:ext cx="2888343" cy="903744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160531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_Gradient">
    <p:bg>
      <p:bgPr>
        <a:gradFill>
          <a:gsLst>
            <a:gs pos="0">
              <a:schemeClr val="accent2"/>
            </a:gs>
            <a:gs pos="39000">
              <a:srgbClr val="0090D4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2313432"/>
            <a:ext cx="106457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40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D803154-09E7-7D60-B2A0-43C37AAF8A56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l="61155" r="17"/>
          <a:stretch/>
        </p:blipFill>
        <p:spPr>
          <a:xfrm>
            <a:off x="0" y="4956175"/>
            <a:ext cx="8550275" cy="1262331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5F090E6C-CA23-3393-8F44-8A057F6ECE8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69425" y="5085263"/>
            <a:ext cx="2630048" cy="626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67897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1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E5C274-2D42-403C-473A-770A4C7681C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29631"/>
            <a:ext cx="12192000" cy="3285067"/>
          </a:xfrm>
          <a:custGeom>
            <a:avLst/>
            <a:gdLst>
              <a:gd name="connsiteX0" fmla="*/ 2021205 w 12192000"/>
              <a:gd name="connsiteY0" fmla="*/ 40 h 3285067"/>
              <a:gd name="connsiteX1" fmla="*/ 12192000 w 12192000"/>
              <a:gd name="connsiteY1" fmla="*/ 40 h 3285067"/>
              <a:gd name="connsiteX2" fmla="*/ 12192000 w 12192000"/>
              <a:gd name="connsiteY2" fmla="*/ 3285067 h 3285067"/>
              <a:gd name="connsiteX3" fmla="*/ 0 w 12192000"/>
              <a:gd name="connsiteY3" fmla="*/ 3285067 h 3285067"/>
              <a:gd name="connsiteX4" fmla="*/ 0 w 12192000"/>
              <a:gd name="connsiteY4" fmla="*/ 1506224 h 3285067"/>
              <a:gd name="connsiteX5" fmla="*/ 847090 w 12192000"/>
              <a:gd name="connsiteY5" fmla="*/ 409722 h 3285067"/>
              <a:gd name="connsiteX6" fmla="*/ 2021205 w 12192000"/>
              <a:gd name="connsiteY6" fmla="*/ 40 h 3285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285067">
                <a:moveTo>
                  <a:pt x="2021205" y="40"/>
                </a:moveTo>
                <a:lnTo>
                  <a:pt x="12192000" y="40"/>
                </a:lnTo>
                <a:lnTo>
                  <a:pt x="12192000" y="3285067"/>
                </a:lnTo>
                <a:lnTo>
                  <a:pt x="0" y="3285067"/>
                </a:lnTo>
                <a:lnTo>
                  <a:pt x="0" y="1506224"/>
                </a:lnTo>
                <a:cubicBezTo>
                  <a:pt x="203835" y="1107957"/>
                  <a:pt x="462280" y="699543"/>
                  <a:pt x="847090" y="409722"/>
                </a:cubicBezTo>
                <a:cubicBezTo>
                  <a:pt x="1038225" y="266397"/>
                  <a:pt x="1391920" y="-3765"/>
                  <a:pt x="2021205" y="4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A1C1D5B-0DAB-DA38-12BB-A3F36F8A11E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147413" y="5699303"/>
            <a:ext cx="1760018" cy="419052"/>
          </a:xfrm>
          <a:prstGeom prst="rect">
            <a:avLst/>
          </a:prstGeom>
        </p:spPr>
      </p:pic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0FBECD5-7500-788F-0BDD-8335C35C2A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2401" y="5659830"/>
            <a:ext cx="8997028" cy="276999"/>
          </a:xfrm>
        </p:spPr>
        <p:txBody>
          <a:bodyPr t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cap="none" spc="0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A5080BC-1CDF-9D39-BB28-E6085F3AF8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401" y="4074160"/>
            <a:ext cx="8997024" cy="129730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90000"/>
              </a:lnSpc>
              <a:defRPr sz="4000" b="0" i="0" cap="none" spc="0" baseline="0">
                <a:solidFill>
                  <a:schemeClr val="accent1"/>
                </a:solidFill>
                <a:effectLst/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A4786694-1C9C-6495-81EF-6C934B28DE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401" y="5958654"/>
            <a:ext cx="8997028" cy="215444"/>
          </a:xfrm>
        </p:spPr>
        <p:txBody>
          <a:bodyPr t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cap="none" spc="0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767884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_Amge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2313432"/>
            <a:ext cx="106457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40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8ECA461-0B56-34C2-12A1-F9FA61D9929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369425" y="5085263"/>
            <a:ext cx="2630048" cy="62620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3DE3D18-924A-E439-363E-C0904B157B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949969"/>
            <a:ext cx="8547333" cy="1268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524512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_Amgen Blu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2313432"/>
            <a:ext cx="93503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40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2BF76BD7-AB8B-BB11-438A-36C88D34209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6200000">
            <a:off x="7876104" y="2628899"/>
            <a:ext cx="6667500" cy="158750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7619DBD-FCFC-171A-AE64-08BF50C2B38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949969"/>
            <a:ext cx="8547333" cy="1268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25325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_Sk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2313432"/>
            <a:ext cx="95789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40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1C1D202B-A253-38C5-CE70-C8B6EC0EEF0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6200000">
            <a:off x="7876104" y="2628899"/>
            <a:ext cx="6667500" cy="15875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40C5373-9D7F-B564-FFE8-3A4244C85A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951380"/>
            <a:ext cx="9241276" cy="1299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96832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Outline_Gradient">
    <p:bg>
      <p:bgPr>
        <a:gradFill>
          <a:gsLst>
            <a:gs pos="0">
              <a:schemeClr val="accent2"/>
            </a:gs>
            <a:gs pos="39000">
              <a:srgbClr val="0090D4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82FF47D6-89C2-ABE6-B6D8-5558BDE456CF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l="4716" r="6055"/>
          <a:stretch/>
        </p:blipFill>
        <p:spPr>
          <a:xfrm>
            <a:off x="0" y="1555006"/>
            <a:ext cx="12201553" cy="29260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2313432"/>
            <a:ext cx="106457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40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BCC669-489B-0220-682D-D288C3D2668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4560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Outline_Amge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82FF47D6-89C2-ABE6-B6D8-5558BDE456CF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l="4716" r="6055"/>
          <a:stretch/>
        </p:blipFill>
        <p:spPr>
          <a:xfrm>
            <a:off x="0" y="1555006"/>
            <a:ext cx="12201553" cy="29260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2313432"/>
            <a:ext cx="106457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40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93C3D1E-B2ED-A612-DA14-6C361948743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72159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Outline_Sk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82FF47D6-89C2-ABE6-B6D8-5558BDE456CF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l="4716" r="6055"/>
          <a:stretch/>
        </p:blipFill>
        <p:spPr>
          <a:xfrm>
            <a:off x="0" y="1555006"/>
            <a:ext cx="12201553" cy="29260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2313432"/>
            <a:ext cx="106457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40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473AA82-ECE0-F7A5-E289-AFE8B58AF71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96655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Outlin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5C171C62-B9E9-6582-342F-9D93DA099038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l="4716" r="6055"/>
          <a:stretch/>
        </p:blipFill>
        <p:spPr>
          <a:xfrm>
            <a:off x="0" y="1555006"/>
            <a:ext cx="12201553" cy="29260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2313432"/>
            <a:ext cx="106457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4000" b="0" spc="0" baseline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4CB53F91-31AF-F0AA-72F9-1922F70D031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70788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with Image2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D22D8B5-A53E-9F27-F895-D6005176604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-1"/>
            <a:ext cx="12204191" cy="5689601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3059084"/>
            <a:ext cx="10645775" cy="57745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40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1BFBDD2-1AF9-91B5-BF36-65D95A417B8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924533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A13FB6-A12E-933F-8817-E76E400A88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126" y="1574800"/>
            <a:ext cx="6327774" cy="413745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  <a:defRPr sz="1400" b="1" cap="all" baseline="0"/>
            </a:lvl1pPr>
            <a:lvl2pPr marL="344488" indent="-344488"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577850" indent="-203200">
              <a:buSzPct val="90000"/>
              <a:buFont typeface="System Font Regular"/>
              <a:buChar char="◦"/>
              <a:tabLst/>
              <a:defRPr sz="1600"/>
            </a:lvl3pPr>
            <a:lvl4pPr marL="750888" indent="-152400">
              <a:buFont typeface="System Font Regular"/>
              <a:buChar char="–"/>
              <a:tabLst/>
              <a:defRPr sz="1400"/>
            </a:lvl4pPr>
            <a:lvl5pPr marL="863600" indent="-101600">
              <a:buSzPct val="100000"/>
              <a:buFont typeface="Arial" panose="020B0604020202020204" pitchFamily="34" charset="0"/>
              <a:buChar char="•"/>
              <a:tabLst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0CCE08-5C50-76BD-D4DD-16099D6DCC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8AC3CAFA-42F3-2B29-4347-99C0BEAF57E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226682" y="1574799"/>
            <a:ext cx="4965318" cy="3633213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5259F4E-3B0A-1419-5A9B-713706AB3BE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14490" y="5203638"/>
            <a:ext cx="4977510" cy="430887"/>
          </a:xfrm>
          <a:gradFill>
            <a:gsLst>
              <a:gs pos="0">
                <a:schemeClr val="accent2"/>
              </a:gs>
              <a:gs pos="31500">
                <a:srgbClr val="0090D4"/>
              </a:gs>
              <a:gs pos="63000">
                <a:schemeClr val="accent1"/>
              </a:gs>
            </a:gsLst>
            <a:lin ang="720000" scaled="0"/>
          </a:gradFill>
        </p:spPr>
        <p:txBody>
          <a:bodyPr wrap="square" lIns="182880" tIns="91440" rIns="91440" bIns="91440" anchor="t" anchorCtr="0">
            <a:spAutoFit/>
          </a:bodyPr>
          <a:lstStyle>
            <a:lvl1pPr marL="0" indent="0" algn="l">
              <a:buNone/>
              <a:defRPr sz="16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Photo Title</a:t>
            </a:r>
          </a:p>
        </p:txBody>
      </p:sp>
    </p:spTree>
    <p:extLst>
      <p:ext uri="{BB962C8B-B14F-4D97-AF65-F5344CB8AC3E}">
        <p14:creationId xmlns:p14="http://schemas.microsoft.com/office/powerpoint/2010/main" val="135876766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-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A13FB6-A12E-933F-8817-E76E400A88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99100" y="1574800"/>
            <a:ext cx="6327774" cy="413745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  <a:defRPr sz="1400" b="1" cap="all" baseline="0"/>
            </a:lvl1pPr>
            <a:lvl2pPr marL="344488" indent="-344488"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577850" indent="-203200">
              <a:buSzPct val="90000"/>
              <a:buFont typeface="System Font Regular"/>
              <a:buChar char="◦"/>
              <a:tabLst/>
              <a:defRPr sz="1600"/>
            </a:lvl3pPr>
            <a:lvl4pPr marL="750888" indent="-152400">
              <a:buFont typeface="System Font Regular"/>
              <a:buChar char="–"/>
              <a:tabLst/>
              <a:defRPr sz="1400"/>
            </a:lvl4pPr>
            <a:lvl5pPr marL="863600" indent="-101600">
              <a:buSzPct val="100000"/>
              <a:buFont typeface="Arial" panose="020B0604020202020204" pitchFamily="34" charset="0"/>
              <a:buChar char="•"/>
              <a:tabLst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0CCE08-5C50-76BD-D4DD-16099D6DCC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8AC3CAFA-42F3-2B29-4347-99C0BEAF57E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2192" y="1574799"/>
            <a:ext cx="4965318" cy="3633213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5259F4E-3B0A-1419-5A9B-713706AB3BE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5203638"/>
            <a:ext cx="4977510" cy="430887"/>
          </a:xfrm>
          <a:gradFill>
            <a:gsLst>
              <a:gs pos="0">
                <a:schemeClr val="accent2"/>
              </a:gs>
              <a:gs pos="31500">
                <a:srgbClr val="0090D4"/>
              </a:gs>
              <a:gs pos="63000">
                <a:schemeClr val="accent1"/>
              </a:gs>
            </a:gsLst>
            <a:lin ang="720000" scaled="0"/>
          </a:gradFill>
        </p:spPr>
        <p:txBody>
          <a:bodyPr wrap="square" lIns="182880" tIns="91440" rIns="91440" bIns="91440" anchor="t" anchorCtr="0">
            <a:spAutoFit/>
          </a:bodyPr>
          <a:lstStyle>
            <a:lvl1pPr marL="0" indent="0" algn="l">
              <a:buNone/>
              <a:defRPr sz="16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Photo Title</a:t>
            </a:r>
          </a:p>
        </p:txBody>
      </p:sp>
    </p:spTree>
    <p:extLst>
      <p:ext uri="{BB962C8B-B14F-4D97-AF65-F5344CB8AC3E}">
        <p14:creationId xmlns:p14="http://schemas.microsoft.com/office/powerpoint/2010/main" val="291723275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2_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4D27B2B-D576-D71C-59A8-B9F113604B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636403"/>
            <a:ext cx="12192000" cy="2876162"/>
          </a:xfrm>
          <a:custGeom>
            <a:avLst/>
            <a:gdLst>
              <a:gd name="connsiteX0" fmla="*/ 1781810 w 12192000"/>
              <a:gd name="connsiteY0" fmla="*/ 31 h 2876162"/>
              <a:gd name="connsiteX1" fmla="*/ 12192000 w 12192000"/>
              <a:gd name="connsiteY1" fmla="*/ 31 h 2876162"/>
              <a:gd name="connsiteX2" fmla="*/ 12192000 w 12192000"/>
              <a:gd name="connsiteY2" fmla="*/ 2876162 h 2876162"/>
              <a:gd name="connsiteX3" fmla="*/ 0 w 12192000"/>
              <a:gd name="connsiteY3" fmla="*/ 2876162 h 2876162"/>
              <a:gd name="connsiteX4" fmla="*/ 0 w 12192000"/>
              <a:gd name="connsiteY4" fmla="*/ 1342353 h 2876162"/>
              <a:gd name="connsiteX5" fmla="*/ 753745 w 12192000"/>
              <a:gd name="connsiteY5" fmla="*/ 358915 h 2876162"/>
              <a:gd name="connsiteX6" fmla="*/ 1781810 w 12192000"/>
              <a:gd name="connsiteY6" fmla="*/ 31 h 2876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876162">
                <a:moveTo>
                  <a:pt x="1781810" y="31"/>
                </a:moveTo>
                <a:lnTo>
                  <a:pt x="12192000" y="31"/>
                </a:lnTo>
                <a:lnTo>
                  <a:pt x="12192000" y="2876162"/>
                </a:lnTo>
                <a:lnTo>
                  <a:pt x="0" y="2876162"/>
                </a:lnTo>
                <a:lnTo>
                  <a:pt x="0" y="1342353"/>
                </a:lnTo>
                <a:cubicBezTo>
                  <a:pt x="180341" y="986007"/>
                  <a:pt x="408940" y="618248"/>
                  <a:pt x="753745" y="358915"/>
                </a:cubicBezTo>
                <a:cubicBezTo>
                  <a:pt x="921385" y="232734"/>
                  <a:pt x="1231265" y="-3139"/>
                  <a:pt x="1781810" y="31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98945A5-9CA2-F0C7-7DFE-454036D91D7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7413" y="2816776"/>
            <a:ext cx="1760018" cy="419052"/>
          </a:xfrm>
          <a:prstGeom prst="rect">
            <a:avLst/>
          </a:prstGeom>
        </p:spPr>
      </p:pic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F53AC3D5-8EE4-6712-7ABB-B1D371DCB4C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2401" y="2721560"/>
            <a:ext cx="8997028" cy="276999"/>
          </a:xfrm>
        </p:spPr>
        <p:txBody>
          <a:bodyPr t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4496EF2B-BEEF-81AB-7FE0-1A02F1C4961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2401" y="3020384"/>
            <a:ext cx="8997028" cy="215444"/>
          </a:xfrm>
        </p:spPr>
        <p:txBody>
          <a:bodyPr t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A16F640-036D-427C-8A41-5A307E39D4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401" y="1135889"/>
            <a:ext cx="8997024" cy="129730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90000"/>
              </a:lnSpc>
              <a:defRPr sz="4000" b="0" i="0" cap="none" spc="0" baseline="0">
                <a:solidFill>
                  <a:schemeClr val="bg1"/>
                </a:solidFill>
                <a:effectLst/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481668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- Takawa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A13FB6-A12E-933F-8817-E76E400A88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125" y="1574800"/>
            <a:ext cx="7102475" cy="413745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  <a:defRPr sz="1400" b="1" cap="all" baseline="0"/>
            </a:lvl1pPr>
            <a:lvl2pPr marL="344488" indent="-344488"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577850" indent="-203200">
              <a:buSzPct val="90000"/>
              <a:buFont typeface="System Font Regular"/>
              <a:buChar char="◦"/>
              <a:tabLst/>
              <a:defRPr sz="1600"/>
            </a:lvl3pPr>
            <a:lvl4pPr marL="750888" indent="-152400">
              <a:buFont typeface="System Font Regular"/>
              <a:buChar char="–"/>
              <a:tabLst/>
              <a:defRPr sz="1400"/>
            </a:lvl4pPr>
            <a:lvl5pPr marL="863600" indent="-101600">
              <a:buSzPct val="100000"/>
              <a:buFont typeface="Arial" panose="020B0604020202020204" pitchFamily="34" charset="0"/>
              <a:buChar char="•"/>
              <a:tabLst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0CCE08-5C50-76BD-D4DD-16099D6DCC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ACB8E92-B63D-F639-C04E-26A053476B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67" y="1574800"/>
            <a:ext cx="4182533" cy="646331"/>
          </a:xfr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2700000" scaled="1"/>
          </a:gradFill>
          <a:ln w="50800" cap="flat">
            <a:noFill/>
            <a:prstDash val="solid"/>
            <a:miter/>
          </a:ln>
        </p:spPr>
        <p:txBody>
          <a:bodyPr wrap="square" lIns="182880" tIns="182880" rIns="91440" bIns="182880" rtlCol="0" anchor="t" anchorCtr="0">
            <a:spAutoFit/>
          </a:bodyPr>
          <a:lstStyle>
            <a:lvl1pPr marL="0" indent="0">
              <a:buNone/>
              <a:defRPr lang="en-US" b="1" cap="all" baseline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 eaLnBrk="0" hangingPunct="0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ADD TAKEAWAY</a:t>
            </a:r>
          </a:p>
        </p:txBody>
      </p:sp>
    </p:spTree>
    <p:extLst>
      <p:ext uri="{BB962C8B-B14F-4D97-AF65-F5344CB8AC3E}">
        <p14:creationId xmlns:p14="http://schemas.microsoft.com/office/powerpoint/2010/main" val="33716421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eaway Right -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A13FB6-A12E-933F-8817-E76E400A88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6800" y="1574800"/>
            <a:ext cx="6950074" cy="413745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  <a:defRPr sz="1400" b="1" cap="all" baseline="0"/>
            </a:lvl1pPr>
            <a:lvl2pPr marL="344488" indent="-344488"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577850" indent="-203200">
              <a:buSzPct val="90000"/>
              <a:buFont typeface="System Font Regular"/>
              <a:buChar char="◦"/>
              <a:tabLst/>
              <a:defRPr sz="1600"/>
            </a:lvl3pPr>
            <a:lvl4pPr marL="750888" indent="-152400">
              <a:buFont typeface="System Font Regular"/>
              <a:buChar char="–"/>
              <a:tabLst/>
              <a:defRPr sz="1400"/>
            </a:lvl4pPr>
            <a:lvl5pPr marL="863600" indent="-101600">
              <a:buSzPct val="100000"/>
              <a:buFont typeface="Arial" panose="020B0604020202020204" pitchFamily="34" charset="0"/>
              <a:buChar char="•"/>
              <a:tabLst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0CCE08-5C50-76BD-D4DD-16099D6DCC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ACB8E92-B63D-F639-C04E-26A053476B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574800"/>
            <a:ext cx="4182533" cy="646331"/>
          </a:xfr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2700000" scaled="1"/>
          </a:gradFill>
          <a:ln w="50800" cap="flat">
            <a:noFill/>
            <a:prstDash val="solid"/>
            <a:miter/>
          </a:ln>
        </p:spPr>
        <p:txBody>
          <a:bodyPr wrap="square" lIns="91440" tIns="182880" rIns="182880" bIns="182880" rtlCol="0" anchor="t" anchorCtr="0">
            <a:spAutoFit/>
          </a:bodyPr>
          <a:lstStyle>
            <a:lvl1pPr marL="0" indent="0" algn="r">
              <a:buNone/>
              <a:defRPr lang="en-US" b="1" cap="all" baseline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 eaLnBrk="0" hangingPunct="0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ADD TAKEAWAY</a:t>
            </a:r>
          </a:p>
        </p:txBody>
      </p:sp>
    </p:spTree>
    <p:extLst>
      <p:ext uri="{BB962C8B-B14F-4D97-AF65-F5344CB8AC3E}">
        <p14:creationId xmlns:p14="http://schemas.microsoft.com/office/powerpoint/2010/main" val="382765506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- Takewa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0CCE08-5C50-76BD-D4DD-16099D6DCC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ACB8E92-B63D-F639-C04E-26A053476B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67" y="1574800"/>
            <a:ext cx="4182533" cy="646331"/>
          </a:xfr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2700000" scaled="1"/>
          </a:gradFill>
          <a:ln w="50800" cap="flat">
            <a:noFill/>
            <a:prstDash val="solid"/>
            <a:miter/>
          </a:ln>
        </p:spPr>
        <p:txBody>
          <a:bodyPr wrap="square" lIns="182880" tIns="182880" rIns="91440" bIns="182880" rtlCol="0" anchor="t" anchorCtr="0">
            <a:spAutoFit/>
          </a:bodyPr>
          <a:lstStyle>
            <a:lvl1pPr marL="0" indent="0">
              <a:buNone/>
              <a:defRPr lang="en-US" b="1" cap="all" baseline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 eaLnBrk="0" hangingPunct="0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ADD TAKEAWAY</a:t>
            </a:r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669DD363-280A-936E-8C23-676EF0316E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574800"/>
            <a:ext cx="7226681" cy="4421632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17305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eaway Left -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0CCE08-5C50-76BD-D4DD-16099D6DCC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ACB8E92-B63D-F639-C04E-26A053476B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574800"/>
            <a:ext cx="4182533" cy="646331"/>
          </a:xfr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2700000" scaled="1"/>
          </a:gradFill>
          <a:ln w="50800" cap="flat">
            <a:noFill/>
            <a:prstDash val="solid"/>
            <a:miter/>
          </a:ln>
        </p:spPr>
        <p:txBody>
          <a:bodyPr wrap="square" lIns="91440" tIns="182880" rIns="182880" bIns="182880" rtlCol="0" anchor="t" anchorCtr="0">
            <a:spAutoFit/>
          </a:bodyPr>
          <a:lstStyle>
            <a:lvl1pPr marL="0" indent="0" algn="r">
              <a:buNone/>
              <a:defRPr lang="en-US" b="1" cap="all" baseline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 eaLnBrk="0" hangingPunct="0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ADD TAKEAWAY</a:t>
            </a:r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669DD363-280A-936E-8C23-676EF0316E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65319" y="1574800"/>
            <a:ext cx="7226681" cy="4421632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43406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op - Takeaway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A13FB6-A12E-933F-8817-E76E400A88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126" y="1583150"/>
            <a:ext cx="11461748" cy="3429118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  <a:defRPr sz="1400" b="1" cap="all" baseline="0"/>
            </a:lvl1pPr>
            <a:lvl2pPr marL="344488" indent="-344488"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577850" indent="-203200">
              <a:buSzPct val="90000"/>
              <a:buFont typeface="System Font Regular"/>
              <a:buChar char="◦"/>
              <a:tabLst/>
              <a:defRPr sz="1600"/>
            </a:lvl3pPr>
            <a:lvl4pPr marL="750888" indent="-152400">
              <a:buFont typeface="System Font Regular"/>
              <a:buChar char="–"/>
              <a:tabLst/>
              <a:defRPr sz="1400"/>
            </a:lvl4pPr>
            <a:lvl5pPr marL="863600" indent="-101600">
              <a:buSzPct val="100000"/>
              <a:buFont typeface="Arial" panose="020B0604020202020204" pitchFamily="34" charset="0"/>
              <a:buChar char="•"/>
              <a:tabLst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0CCE08-5C50-76BD-D4DD-16099D6DCC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ACB8E92-B63D-F639-C04E-26A053476B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045720"/>
            <a:ext cx="10034336" cy="553998"/>
          </a:xfr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2700000" scaled="1"/>
          </a:gradFill>
          <a:ln w="50800" cap="flat">
            <a:noFill/>
            <a:prstDash val="solid"/>
            <a:miter/>
          </a:ln>
        </p:spPr>
        <p:txBody>
          <a:bodyPr wrap="square" lIns="182880" tIns="137160" rIns="91440" bIns="137160" rtlCol="0" anchor="t" anchorCtr="0">
            <a:spAutoFit/>
          </a:bodyPr>
          <a:lstStyle>
            <a:lvl1pPr marL="0" indent="0">
              <a:buNone/>
              <a:defRPr lang="en-US" b="1" cap="all" baseline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 eaLnBrk="0" hangingPunct="0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ADD TAKEAWAY</a:t>
            </a:r>
          </a:p>
        </p:txBody>
      </p:sp>
    </p:spTree>
    <p:extLst>
      <p:ext uri="{BB962C8B-B14F-4D97-AF65-F5344CB8AC3E}">
        <p14:creationId xmlns:p14="http://schemas.microsoft.com/office/powerpoint/2010/main" val="330002914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- Takeaway Middle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0CCE08-5C50-76BD-D4DD-16099D6DCC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694DBBBF-F5E3-0F6E-64E4-FC4D87E354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1574800"/>
            <a:ext cx="4059936" cy="4421632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7C98D7DE-08CD-246A-C0D0-1C57495D2C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2131" y="1574799"/>
            <a:ext cx="4059936" cy="4421631"/>
          </a:xfrm>
          <a:gradFill>
            <a:gsLst>
              <a:gs pos="0">
                <a:schemeClr val="accent2"/>
              </a:gs>
              <a:gs pos="81000">
                <a:schemeClr val="accent1"/>
              </a:gs>
            </a:gsLst>
            <a:lin ang="2700000" scaled="1"/>
          </a:gradFill>
        </p:spPr>
        <p:txBody>
          <a:bodyPr lIns="548640" tIns="457200" rIns="548640" bIns="457200" anchor="ctr" anchorCtr="0"/>
          <a:lstStyle>
            <a:lvl1pPr marL="0" indent="0">
              <a:buNone/>
              <a:defRPr b="1" i="0" u="none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27432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54864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917391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218956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060CD5F0-1565-54A2-4112-3F79288EAFF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44263" y="1574800"/>
            <a:ext cx="4059936" cy="4421632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684446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0CCE08-5C50-76BD-D4DD-16099D6DCC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694DBBBF-F5E3-0F6E-64E4-FC4D87E354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1574800"/>
            <a:ext cx="4059936" cy="4421632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060CD5F0-1565-54A2-4112-3F79288EAFF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44263" y="1574800"/>
            <a:ext cx="4059936" cy="4421632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27C8CEFE-7DC9-3809-7239-76992FE6BC9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80932" y="1574800"/>
            <a:ext cx="4059936" cy="4421632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76234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0CCE08-5C50-76BD-D4DD-16099D6DCC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694DBBBF-F5E3-0F6E-64E4-FC4D87E354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574800"/>
            <a:ext cx="12192000" cy="4421632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72608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hoto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0CCE08-5C50-76BD-D4DD-16099D6DCC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8AC3CAFA-42F3-2B29-4347-99C0BEAF57E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46435" y="1574799"/>
            <a:ext cx="5943600" cy="3889812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5259F4E-3B0A-1419-5A9B-713706AB3BE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1467" y="5515078"/>
            <a:ext cx="5943600" cy="430887"/>
          </a:xfrm>
          <a:gradFill>
            <a:gsLst>
              <a:gs pos="0">
                <a:schemeClr val="accent2"/>
              </a:gs>
              <a:gs pos="31500">
                <a:srgbClr val="0090D4"/>
              </a:gs>
              <a:gs pos="63000">
                <a:schemeClr val="accent1"/>
              </a:gs>
            </a:gsLst>
            <a:lin ang="720000" scaled="0"/>
          </a:gradFill>
        </p:spPr>
        <p:txBody>
          <a:bodyPr wrap="square" lIns="182880" tIns="91440" rIns="91440" bIns="91440" anchor="t" anchorCtr="0">
            <a:spAutoFit/>
          </a:bodyPr>
          <a:lstStyle>
            <a:lvl1pPr marL="0" indent="0" algn="l">
              <a:buNone/>
              <a:defRPr sz="16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Photo Title</a:t>
            </a:r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5DBB4141-D61A-F6DD-7906-F6E5B6D8C82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6933" y="1574799"/>
            <a:ext cx="5943600" cy="3889812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A807680-75A6-6392-2058-ABAF708BAA6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65" y="5515078"/>
            <a:ext cx="5943600" cy="430887"/>
          </a:xfrm>
          <a:gradFill>
            <a:gsLst>
              <a:gs pos="0">
                <a:schemeClr val="accent2"/>
              </a:gs>
              <a:gs pos="31500">
                <a:srgbClr val="0090D4"/>
              </a:gs>
              <a:gs pos="63000">
                <a:schemeClr val="accent1"/>
              </a:gs>
            </a:gsLst>
            <a:lin ang="720000" scaled="0"/>
          </a:gradFill>
        </p:spPr>
        <p:txBody>
          <a:bodyPr wrap="square" lIns="182880" tIns="91440" rIns="91440" bIns="91440" anchor="t" anchorCtr="0">
            <a:spAutoFit/>
          </a:bodyPr>
          <a:lstStyle>
            <a:lvl1pPr marL="0" indent="0" algn="l">
              <a:buNone/>
              <a:defRPr sz="16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Photo Title</a:t>
            </a:r>
          </a:p>
        </p:txBody>
      </p:sp>
    </p:spTree>
    <p:extLst>
      <p:ext uri="{BB962C8B-B14F-4D97-AF65-F5344CB8AC3E}">
        <p14:creationId xmlns:p14="http://schemas.microsoft.com/office/powerpoint/2010/main" val="224992531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s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0CCE08-5C50-76BD-D4DD-16099D6DCC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02EAC873-FBEA-376E-6D69-DDF4BCFACDA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502399" y="1574801"/>
            <a:ext cx="2457450" cy="4421632"/>
          </a:xfrm>
          <a:solidFill>
            <a:schemeClr val="tx2">
              <a:lumMod val="40000"/>
              <a:lumOff val="6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66AA858-A278-FACA-251F-AECEB614EAD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574801"/>
            <a:ext cx="6502399" cy="221826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286673A2-1C83-23DF-670E-1C88C81C4AE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25799" y="3793067"/>
            <a:ext cx="3276600" cy="2203365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B01A198-FE99-4641-2B11-0CD98E450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59850" y="1574801"/>
            <a:ext cx="3226933" cy="2218266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AB59004-6695-E25A-4CEE-C0001E4A488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59850" y="3778166"/>
            <a:ext cx="3226933" cy="2218266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ADAEB03F-5223-00BE-AB62-30430610F43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" y="3793067"/>
            <a:ext cx="3225799" cy="2203365"/>
          </a:xfrm>
          <a:solidFill>
            <a:schemeClr val="tx2">
              <a:lumMod val="40000"/>
              <a:lumOff val="6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39232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2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93F56E97-E395-3C7D-D75B-6CBEFC99442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636403"/>
            <a:ext cx="12192000" cy="2876162"/>
          </a:xfrm>
          <a:custGeom>
            <a:avLst/>
            <a:gdLst>
              <a:gd name="connsiteX0" fmla="*/ 1781810 w 12192000"/>
              <a:gd name="connsiteY0" fmla="*/ 31 h 2876162"/>
              <a:gd name="connsiteX1" fmla="*/ 12192000 w 12192000"/>
              <a:gd name="connsiteY1" fmla="*/ 31 h 2876162"/>
              <a:gd name="connsiteX2" fmla="*/ 12192000 w 12192000"/>
              <a:gd name="connsiteY2" fmla="*/ 2876162 h 2876162"/>
              <a:gd name="connsiteX3" fmla="*/ 0 w 12192000"/>
              <a:gd name="connsiteY3" fmla="*/ 2876162 h 2876162"/>
              <a:gd name="connsiteX4" fmla="*/ 0 w 12192000"/>
              <a:gd name="connsiteY4" fmla="*/ 1342353 h 2876162"/>
              <a:gd name="connsiteX5" fmla="*/ 753745 w 12192000"/>
              <a:gd name="connsiteY5" fmla="*/ 358915 h 2876162"/>
              <a:gd name="connsiteX6" fmla="*/ 1781810 w 12192000"/>
              <a:gd name="connsiteY6" fmla="*/ 31 h 2876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876162">
                <a:moveTo>
                  <a:pt x="1781810" y="31"/>
                </a:moveTo>
                <a:lnTo>
                  <a:pt x="12192000" y="31"/>
                </a:lnTo>
                <a:lnTo>
                  <a:pt x="12192000" y="2876162"/>
                </a:lnTo>
                <a:lnTo>
                  <a:pt x="0" y="2876162"/>
                </a:lnTo>
                <a:lnTo>
                  <a:pt x="0" y="1342353"/>
                </a:lnTo>
                <a:cubicBezTo>
                  <a:pt x="180341" y="986007"/>
                  <a:pt x="408940" y="618248"/>
                  <a:pt x="753745" y="358915"/>
                </a:cubicBezTo>
                <a:cubicBezTo>
                  <a:pt x="921385" y="232734"/>
                  <a:pt x="1231265" y="-3139"/>
                  <a:pt x="1781810" y="31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CC6EE47-8032-AF6F-FABF-6E7F10DE4B2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147413" y="2816776"/>
            <a:ext cx="1760018" cy="419052"/>
          </a:xfrm>
          <a:prstGeom prst="rect">
            <a:avLst/>
          </a:prstGeom>
        </p:spPr>
      </p:pic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A91D550C-C654-9705-3011-4D2255BE91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2401" y="2721560"/>
            <a:ext cx="8997028" cy="276999"/>
          </a:xfrm>
        </p:spPr>
        <p:txBody>
          <a:bodyPr t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cap="none" spc="0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CA0520F-8996-9F2D-1939-185EC0F46D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401" y="1135890"/>
            <a:ext cx="8997024" cy="129730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90000"/>
              </a:lnSpc>
              <a:defRPr sz="4000" b="0" i="0" cap="none" spc="0" baseline="0">
                <a:solidFill>
                  <a:schemeClr val="accent1"/>
                </a:solidFill>
                <a:effectLst/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EC9DF10B-920A-E715-A6E8-DA9573D884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401" y="3020384"/>
            <a:ext cx="8997028" cy="215444"/>
          </a:xfrm>
        </p:spPr>
        <p:txBody>
          <a:bodyPr t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cap="none" spc="0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879676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-AFramePhotoRight">
    <p:bg>
      <p:bgPr>
        <a:gradFill>
          <a:gsLst>
            <a:gs pos="0">
              <a:schemeClr val="accent2"/>
            </a:gs>
            <a:gs pos="39000">
              <a:srgbClr val="0090D4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9C8896E-6D9D-09BD-B522-97D6016B08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465321" y="0"/>
            <a:ext cx="7726679" cy="6858000"/>
          </a:xfrm>
          <a:custGeom>
            <a:avLst/>
            <a:gdLst>
              <a:gd name="connsiteX0" fmla="*/ 986 w 7726679"/>
              <a:gd name="connsiteY0" fmla="*/ 0 h 6858000"/>
              <a:gd name="connsiteX1" fmla="*/ 7726679 w 7726679"/>
              <a:gd name="connsiteY1" fmla="*/ 0 h 6858000"/>
              <a:gd name="connsiteX2" fmla="*/ 7726679 w 7726679"/>
              <a:gd name="connsiteY2" fmla="*/ 6858000 h 6858000"/>
              <a:gd name="connsiteX3" fmla="*/ 954679 w 7726679"/>
              <a:gd name="connsiteY3" fmla="*/ 6858000 h 6858000"/>
              <a:gd name="connsiteX4" fmla="*/ 891992 w 7726679"/>
              <a:gd name="connsiteY4" fmla="*/ 6779831 h 6858000"/>
              <a:gd name="connsiteX5" fmla="*/ 3580 w 7726679"/>
              <a:gd name="connsiteY5" fmla="*/ 4458936 h 6858000"/>
              <a:gd name="connsiteX6" fmla="*/ 0 w 7726679"/>
              <a:gd name="connsiteY6" fmla="*/ 4268670 h 6858000"/>
              <a:gd name="connsiteX7" fmla="*/ 0 w 7726679"/>
              <a:gd name="connsiteY7" fmla="*/ 7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6679" h="6858000">
                <a:moveTo>
                  <a:pt x="986" y="0"/>
                </a:moveTo>
                <a:lnTo>
                  <a:pt x="7726679" y="0"/>
                </a:lnTo>
                <a:lnTo>
                  <a:pt x="7726679" y="6858000"/>
                </a:lnTo>
                <a:lnTo>
                  <a:pt x="954679" y="6858000"/>
                </a:lnTo>
                <a:lnTo>
                  <a:pt x="891992" y="6779831"/>
                </a:lnTo>
                <a:cubicBezTo>
                  <a:pt x="538864" y="6332340"/>
                  <a:pt x="55333" y="5606931"/>
                  <a:pt x="3580" y="4458936"/>
                </a:cubicBezTo>
                <a:lnTo>
                  <a:pt x="0" y="4268670"/>
                </a:lnTo>
                <a:lnTo>
                  <a:pt x="0" y="740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98945A5-9CA2-F0C7-7DFE-454036D91D7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65476" y="6357485"/>
            <a:ext cx="1547282" cy="368401"/>
          </a:xfrm>
          <a:prstGeom prst="rect">
            <a:avLst/>
          </a:prstGeom>
        </p:spPr>
      </p:pic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F53AC3D5-8EE4-6712-7ABB-B1D371DCB4C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2401" y="4630571"/>
            <a:ext cx="3766462" cy="791662"/>
          </a:xfrm>
        </p:spPr>
        <p:txBody>
          <a:bodyPr wrap="square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A16F640-036D-427C-8A41-5A307E39D4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401" y="818147"/>
            <a:ext cx="4103346" cy="36576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90000"/>
              </a:lnSpc>
              <a:defRPr sz="4400" b="0" i="0" cap="none" spc="0" baseline="0">
                <a:solidFill>
                  <a:schemeClr val="bg1"/>
                </a:solidFill>
                <a:effectLst/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6063637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WhiteAFrame+Gradient">
    <p:bg>
      <p:bgPr>
        <a:gradFill>
          <a:gsLst>
            <a:gs pos="0">
              <a:schemeClr val="accent2"/>
            </a:gs>
            <a:gs pos="39000">
              <a:srgbClr val="0090D4"/>
            </a:gs>
            <a:gs pos="80000">
              <a:schemeClr val="accent1"/>
            </a:gs>
          </a:gsLst>
          <a:lin ang="8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1AFEAA4-F5C5-A4EB-D936-AF430555F7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lum bright="100000"/>
          </a:blip>
          <a:srcRect l="63554" t="18596" r="4233"/>
          <a:stretch/>
        </p:blipFill>
        <p:spPr>
          <a:xfrm rot="10800000" flipH="1" flipV="1">
            <a:off x="0" y="0"/>
            <a:ext cx="12192000" cy="628379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6C5A6A7-CE3D-36B6-ABCD-CAC4461F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B339FDD-24C8-3BDC-26C4-98E1DB49280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9644" y="6380480"/>
            <a:ext cx="1495258" cy="356014"/>
          </a:xfrm>
          <a:prstGeom prst="rect">
            <a:avLst/>
          </a:prstGeom>
        </p:spPr>
      </p:pic>
      <p:sp>
        <p:nvSpPr>
          <p:cNvPr id="6" name="Footer Placeholder 7">
            <a:extLst>
              <a:ext uri="{FF2B5EF4-FFF2-40B4-BE49-F238E27FC236}">
                <a16:creationId xmlns:a16="http://schemas.microsoft.com/office/drawing/2014/main" id="{3D11F056-7BAA-BC1B-0699-12D29A0018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5286" y="5674620"/>
            <a:ext cx="7689214" cy="49377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marL="0" indent="0" algn="l">
              <a:spcBef>
                <a:spcPts val="300"/>
              </a:spcBef>
              <a:tabLst/>
              <a:defRPr sz="900" b="0" i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ACF501-E582-7B8B-F19B-2137AE447A13}"/>
              </a:ext>
            </a:extLst>
          </p:cNvPr>
          <p:cNvSpPr>
            <a:spLocks noGrp="1" noChangeArrowheads="1"/>
          </p:cNvSpPr>
          <p:nvPr userDrawn="1"/>
        </p:nvSpPr>
        <p:spPr bwMode="gray">
          <a:xfrm>
            <a:off x="365126" y="6526079"/>
            <a:ext cx="409575" cy="2083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defTabSz="775867" eaLnBrk="1" hangingPunct="1">
              <a:defRPr/>
            </a:pPr>
            <a:fld id="{3DBC93D6-C358-9648-9CB7-FB101C9037AB}" type="slidenum">
              <a:rPr lang="en-US" sz="800" b="0">
                <a:solidFill>
                  <a:schemeClr val="bg1"/>
                </a:solidFill>
                <a:latin typeface="Century Gothic" panose="020B0502020202020204" pitchFamily="34" charset="0"/>
              </a:rPr>
              <a:pPr algn="l" defTabSz="775867" eaLnBrk="1" hangingPunct="1">
                <a:defRPr/>
              </a:pPr>
              <a:t>‹#›</a:t>
            </a:fld>
            <a:endParaRPr lang="en-US" sz="800" b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490455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umnsAFramesDataStream">
    <p:bg>
      <p:bgPr>
        <a:gradFill>
          <a:gsLst>
            <a:gs pos="0">
              <a:schemeClr val="accent2"/>
            </a:gs>
            <a:gs pos="39000">
              <a:srgbClr val="0090D4"/>
            </a:gs>
            <a:gs pos="80000">
              <a:schemeClr val="accent1"/>
            </a:gs>
          </a:gsLst>
          <a:lin ang="8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F3E149AD-96EC-7BAF-1563-5C9C2651D3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2300" y="5879366"/>
            <a:ext cx="9641352" cy="978634"/>
          </a:xfrm>
          <a:prstGeom prst="rect">
            <a:avLst/>
          </a:prstGeom>
        </p:spPr>
      </p:pic>
      <p:pic>
        <p:nvPicPr>
          <p:cNvPr id="28" name="Picture 27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75DA2319-FD86-B114-3613-2495CE511A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742517"/>
            <a:ext cx="745067" cy="411548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6C5A6A7-CE3D-36B6-ABCD-CAC4461F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192753"/>
            <a:ext cx="7102474" cy="194084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B339FDD-24C8-3BDC-26C4-98E1DB49280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39644" y="6380480"/>
            <a:ext cx="1495258" cy="35601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CA670F9-4B5A-59D8-1FBE-283CBE64F096}"/>
              </a:ext>
            </a:extLst>
          </p:cNvPr>
          <p:cNvSpPr>
            <a:spLocks noGrp="1" noChangeArrowheads="1"/>
          </p:cNvSpPr>
          <p:nvPr userDrawn="1"/>
        </p:nvSpPr>
        <p:spPr bwMode="gray">
          <a:xfrm>
            <a:off x="365126" y="6546771"/>
            <a:ext cx="409575" cy="184666"/>
          </a:xfrm>
          <a:prstGeom prst="rect">
            <a:avLst/>
          </a:prstGeom>
          <a:noFill/>
        </p:spPr>
        <p:txBody>
          <a:bodyPr wrap="square" lIns="0" rIns="0" bIns="0" anchor="b" anchorCtr="0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 algn="l"/>
            <a:fld id="{3DBC93D6-C358-9648-9CB7-FB101C9037AB}" type="slidenum">
              <a:rPr lang="en-US" sz="900" b="0">
                <a:solidFill>
                  <a:schemeClr val="bg1"/>
                </a:solidFill>
                <a:latin typeface="+mn-lt"/>
              </a:rPr>
              <a:pPr lvl="0" algn="l"/>
              <a:t>‹#›</a:t>
            </a:fld>
            <a:endParaRPr lang="en-US" sz="900" b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" name="Picture 9" descr="A picture containing logo">
            <a:extLst>
              <a:ext uri="{FF2B5EF4-FFF2-40B4-BE49-F238E27FC236}">
                <a16:creationId xmlns:a16="http://schemas.microsoft.com/office/drawing/2014/main" id="{920CADBF-7997-E13E-9D3E-91CA0BFED30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221" y="124092"/>
            <a:ext cx="5229514" cy="1987975"/>
          </a:xfrm>
          <a:prstGeom prst="rect">
            <a:avLst/>
          </a:prstGeom>
        </p:spPr>
      </p:pic>
      <p:sp>
        <p:nvSpPr>
          <p:cNvPr id="11" name="Text Placeholder 18">
            <a:extLst>
              <a:ext uri="{FF2B5EF4-FFF2-40B4-BE49-F238E27FC236}">
                <a16:creationId xmlns:a16="http://schemas.microsoft.com/office/drawing/2014/main" id="{2B64446A-9936-84B2-D9B0-75D556AEBE2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71801" y="4068702"/>
            <a:ext cx="1312599" cy="129069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1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F0CC3B89-93D2-3AF6-E285-E993DAECCE4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1801" y="3305999"/>
            <a:ext cx="1312599" cy="4913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 b="1" cap="all" baseline="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1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BB878553-9218-5F78-62AC-97CB5FC8DB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57701" y="4068702"/>
            <a:ext cx="1312599" cy="129069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1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50082781-2798-D591-53C5-9CAED951E49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357701" y="3305999"/>
            <a:ext cx="1312599" cy="4913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 b="1" cap="all" baseline="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1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B2B9DCB1-08C5-8F6F-2D97-2317567F26A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996001" y="4068702"/>
            <a:ext cx="1312599" cy="129069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1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EBCB9631-BFFB-4AD1-F8BD-214496F57C9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996001" y="3305999"/>
            <a:ext cx="1312599" cy="4913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 b="1" cap="all" baseline="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1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F7C5CD5F-E6F9-AA12-6717-3052208BC2E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596201" y="4068702"/>
            <a:ext cx="1312599" cy="129069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1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C9FD5D2B-2588-13C7-2186-998453BC294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96201" y="3305999"/>
            <a:ext cx="1312599" cy="4913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 b="1" cap="all" baseline="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1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9CD101F4-5F3B-8E48-7F93-3A6B7BE206E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158303" y="4068702"/>
            <a:ext cx="1312599" cy="129069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1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CDA54F19-DAE1-4FE7-E1CC-4524649990B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58303" y="3305999"/>
            <a:ext cx="1312599" cy="4913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 b="1" cap="all" baseline="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1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4DF0475A-FC7E-7923-7BDE-C1A29683876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974403" y="4068702"/>
            <a:ext cx="1312599" cy="129069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1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899493FD-C384-31A4-A34E-F121CDF1097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974403" y="3305999"/>
            <a:ext cx="1312599" cy="4913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 b="1" cap="all" baseline="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1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78303970-4E23-CCD3-6491-F00B064A005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0663899" y="4068702"/>
            <a:ext cx="1312599" cy="129069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1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71A8D135-4EB0-A0AB-DEBA-A382FD36E17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663899" y="3305999"/>
            <a:ext cx="1312599" cy="4913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 b="1" cap="all" baseline="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1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569F5CF5-468C-C22E-87C7-21E14F98989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46401" y="6212652"/>
            <a:ext cx="8665899" cy="518786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260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1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FF778F72-3085-94F8-7956-B99F3F36FFE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16200000">
            <a:off x="-1295094" y="4634960"/>
            <a:ext cx="3280225" cy="622301"/>
          </a:xfrm>
        </p:spPr>
        <p:txBody>
          <a:bodyPr wrap="square" anchor="ctr" anchorCtr="0"/>
          <a:lstStyle>
            <a:lvl1pPr marL="0" indent="0" algn="r"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1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9313626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Images-FullStr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694DBBBF-F5E3-0F6E-64E4-FC4D87E354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1190961"/>
            <a:ext cx="4013201" cy="2860339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38A7A73A-24C7-74F2-E202-25A249F920C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92628" y="1190961"/>
            <a:ext cx="4010479" cy="2860339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F97A5FA1-E449-3A4A-8023-EF639213279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73564" y="1190961"/>
            <a:ext cx="4018436" cy="2860339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9F58364-125E-CE10-CC78-099FFED0B1A5}"/>
              </a:ext>
            </a:extLst>
          </p:cNvPr>
          <p:cNvSpPr/>
          <p:nvPr userDrawn="1"/>
        </p:nvSpPr>
        <p:spPr>
          <a:xfrm>
            <a:off x="8173563" y="4031675"/>
            <a:ext cx="4018438" cy="1469346"/>
          </a:xfrm>
          <a:prstGeom prst="rect">
            <a:avLst/>
          </a:prstGeo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D9368D-E6DA-AC27-1CF1-82442ADE5AF4}"/>
              </a:ext>
            </a:extLst>
          </p:cNvPr>
          <p:cNvSpPr/>
          <p:nvPr userDrawn="1"/>
        </p:nvSpPr>
        <p:spPr>
          <a:xfrm>
            <a:off x="4092629" y="4031675"/>
            <a:ext cx="4018438" cy="1469346"/>
          </a:xfrm>
          <a:prstGeom prst="rect">
            <a:avLst/>
          </a:prstGeo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8CC2861-C176-CF58-A31E-F529A8F93CDF}"/>
              </a:ext>
            </a:extLst>
          </p:cNvPr>
          <p:cNvSpPr/>
          <p:nvPr userDrawn="1"/>
        </p:nvSpPr>
        <p:spPr>
          <a:xfrm>
            <a:off x="-5238" y="4031675"/>
            <a:ext cx="4018438" cy="1469346"/>
          </a:xfrm>
          <a:prstGeom prst="rect">
            <a:avLst/>
          </a:prstGeo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265D7C5-D37D-8059-A37C-24EA4FB80A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239" y="4310529"/>
            <a:ext cx="12197239" cy="958790"/>
          </a:xfrm>
          <a:prstGeom prst="rect">
            <a:avLst/>
          </a:prstGeom>
        </p:spPr>
      </p:pic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9002DD37-1B7D-A494-6AB0-D300798D897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5126" y="5669454"/>
            <a:ext cx="9477373" cy="78779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accent1"/>
                </a:solidFill>
              </a:defRPr>
            </a:lvl1pPr>
            <a:lvl2pPr marL="228600" indent="-203200">
              <a:buClrTx/>
              <a:buSzPct val="100000"/>
              <a:buFont typeface="Arial" panose="020B0604020202020204" pitchFamily="34" charset="0"/>
              <a:buChar char="•"/>
              <a:tabLst/>
              <a:defRPr sz="1800">
                <a:solidFill>
                  <a:schemeClr val="accent1"/>
                </a:solidFill>
              </a:defRPr>
            </a:lvl2pPr>
            <a:lvl3pPr marL="508000" indent="-203200">
              <a:buClrTx/>
              <a:buSzPct val="100000"/>
              <a:tabLst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A4F576A-8E0F-F717-F778-BB6254EE3F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5201" y="4100961"/>
            <a:ext cx="3474773" cy="123519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568FE056-2104-EF97-62FD-8DFA8867246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24601" y="4100961"/>
            <a:ext cx="3474773" cy="123519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5B194622-45D7-2126-8894-A2DE5510A4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52101" y="4100961"/>
            <a:ext cx="3474773" cy="123519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1746183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Images-Na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694DBBBF-F5E3-0F6E-64E4-FC4D87E354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190961"/>
            <a:ext cx="4011492" cy="2860339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38A7A73A-24C7-74F2-E202-25A249F920C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91615" y="1190961"/>
            <a:ext cx="4011492" cy="2860339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F97A5FA1-E449-3A4A-8023-EF639213279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73563" y="1190961"/>
            <a:ext cx="4018437" cy="2860339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9F58364-125E-CE10-CC78-099FFED0B1A5}"/>
              </a:ext>
            </a:extLst>
          </p:cNvPr>
          <p:cNvSpPr/>
          <p:nvPr userDrawn="1"/>
        </p:nvSpPr>
        <p:spPr>
          <a:xfrm>
            <a:off x="8173563" y="4031675"/>
            <a:ext cx="4018438" cy="1469346"/>
          </a:xfrm>
          <a:prstGeom prst="rect">
            <a:avLst/>
          </a:prstGeo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D9368D-E6DA-AC27-1CF1-82442ADE5AF4}"/>
              </a:ext>
            </a:extLst>
          </p:cNvPr>
          <p:cNvSpPr/>
          <p:nvPr userDrawn="1"/>
        </p:nvSpPr>
        <p:spPr>
          <a:xfrm>
            <a:off x="4092629" y="4031675"/>
            <a:ext cx="4018438" cy="1469346"/>
          </a:xfrm>
          <a:prstGeom prst="rect">
            <a:avLst/>
          </a:prstGeo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8CC2861-C176-CF58-A31E-F529A8F93CDF}"/>
              </a:ext>
            </a:extLst>
          </p:cNvPr>
          <p:cNvSpPr/>
          <p:nvPr userDrawn="1"/>
        </p:nvSpPr>
        <p:spPr>
          <a:xfrm>
            <a:off x="-5238" y="4031675"/>
            <a:ext cx="4018438" cy="1469346"/>
          </a:xfrm>
          <a:prstGeom prst="rect">
            <a:avLst/>
          </a:prstGeo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2B10135-ABFD-E244-3329-E8CD3D8624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239" y="4310529"/>
            <a:ext cx="12197239" cy="958790"/>
          </a:xfrm>
          <a:prstGeom prst="rect">
            <a:avLst/>
          </a:prstGeom>
        </p:spPr>
      </p:pic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9002DD37-1B7D-A494-6AB0-D300798D897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5126" y="5669454"/>
            <a:ext cx="9477373" cy="79002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accent1"/>
                </a:solidFill>
              </a:defRPr>
            </a:lvl1pPr>
            <a:lvl2pPr marL="228600" indent="-203200">
              <a:buClrTx/>
              <a:buSzPct val="100000"/>
              <a:buFont typeface="Arial" panose="020B0604020202020204" pitchFamily="34" charset="0"/>
              <a:buChar char="•"/>
              <a:tabLst/>
              <a:defRPr sz="1800">
                <a:solidFill>
                  <a:schemeClr val="accent1"/>
                </a:solidFill>
              </a:defRPr>
            </a:lvl2pPr>
            <a:lvl3pPr marL="508000" indent="-203200">
              <a:buClrTx/>
              <a:buSzPct val="100000"/>
              <a:tabLst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 Placeholder 18">
            <a:extLst>
              <a:ext uri="{FF2B5EF4-FFF2-40B4-BE49-F238E27FC236}">
                <a16:creationId xmlns:a16="http://schemas.microsoft.com/office/drawing/2014/main" id="{0B68DA4D-5E70-13A0-D0DF-14C319DB301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5201" y="3539068"/>
            <a:ext cx="3599272" cy="5723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 cap="all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34146034-A84C-AD28-352E-09B39A9EB44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24601" y="3539068"/>
            <a:ext cx="3599272" cy="5723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 cap="all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38E5AF91-7188-2F19-8625-C2A68A42DB5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45045" y="3539068"/>
            <a:ext cx="3599272" cy="5723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 cap="all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A4F576A-8E0F-F717-F778-BB6254EE3F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5201" y="4100961"/>
            <a:ext cx="3474773" cy="123519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11113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11113" indent="0">
              <a:spcBef>
                <a:spcPts val="0"/>
              </a:spcBef>
              <a:buClrTx/>
              <a:buSzPct val="100000"/>
              <a:buNone/>
              <a:tabLst/>
              <a:defRPr sz="14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568FE056-2104-EF97-62FD-8DFA8867246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24601" y="4100961"/>
            <a:ext cx="3474773" cy="123519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/>
              <a:defRPr sz="28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ClrTx/>
              <a:buSzPct val="100000"/>
              <a:buNone/>
              <a:tabLst/>
              <a:defRPr sz="14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5B194622-45D7-2126-8894-A2DE5510A4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52101" y="4100961"/>
            <a:ext cx="3474773" cy="123519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11113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11113" indent="0">
              <a:spcBef>
                <a:spcPts val="0"/>
              </a:spcBef>
              <a:buClrTx/>
              <a:buSzPct val="100000"/>
              <a:buNone/>
              <a:tabLst/>
              <a:defRPr sz="14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4076047766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Images_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8173D99-5196-512A-6168-96282516C0D8}"/>
              </a:ext>
            </a:extLst>
          </p:cNvPr>
          <p:cNvSpPr/>
          <p:nvPr userDrawn="1"/>
        </p:nvSpPr>
        <p:spPr>
          <a:xfrm>
            <a:off x="8173563" y="4038984"/>
            <a:ext cx="4018438" cy="1561079"/>
          </a:xfrm>
          <a:prstGeom prst="rect">
            <a:avLst/>
          </a:prstGeo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53342B2-BBB7-C046-7A57-98395332810A}"/>
              </a:ext>
            </a:extLst>
          </p:cNvPr>
          <p:cNvSpPr/>
          <p:nvPr userDrawn="1"/>
        </p:nvSpPr>
        <p:spPr>
          <a:xfrm>
            <a:off x="4092630" y="4050998"/>
            <a:ext cx="4018438" cy="1561079"/>
          </a:xfrm>
          <a:prstGeom prst="rect">
            <a:avLst/>
          </a:prstGeo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08735F6-BCEB-C515-CC8E-2E868AE5A460}"/>
              </a:ext>
            </a:extLst>
          </p:cNvPr>
          <p:cNvSpPr/>
          <p:nvPr userDrawn="1"/>
        </p:nvSpPr>
        <p:spPr>
          <a:xfrm>
            <a:off x="-5237" y="4050998"/>
            <a:ext cx="4018438" cy="1561079"/>
          </a:xfrm>
          <a:prstGeom prst="rect">
            <a:avLst/>
          </a:prstGeo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4543CD2-FFB5-611D-0FB3-FE2EB730E6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239" y="4310529"/>
            <a:ext cx="12197239" cy="9587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694DBBBF-F5E3-0F6E-64E4-FC4D87E354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190961"/>
            <a:ext cx="4010478" cy="2860339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38A7A73A-24C7-74F2-E202-25A249F920C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92628" y="1190961"/>
            <a:ext cx="4018437" cy="2860339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F97A5FA1-E449-3A4A-8023-EF639213279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73563" y="1190961"/>
            <a:ext cx="4018437" cy="2860339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9002DD37-1B7D-A494-6AB0-D300798D897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5126" y="5737188"/>
            <a:ext cx="9477373" cy="79002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accent1"/>
                </a:solidFill>
              </a:defRPr>
            </a:lvl1pPr>
            <a:lvl2pPr marL="228600" indent="-203200">
              <a:buClrTx/>
              <a:buSzPct val="100000"/>
              <a:buFont typeface="Arial" panose="020B0604020202020204" pitchFamily="34" charset="0"/>
              <a:buChar char="•"/>
              <a:tabLst/>
              <a:defRPr sz="1800">
                <a:solidFill>
                  <a:schemeClr val="accent1"/>
                </a:solidFill>
              </a:defRPr>
            </a:lvl2pPr>
            <a:lvl3pPr marL="508000" indent="-203200">
              <a:buClrTx/>
              <a:buSzPct val="100000"/>
              <a:tabLst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A4F576A-8E0F-F717-F778-BB6254EE3F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5201" y="4143825"/>
            <a:ext cx="3592216" cy="8887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11113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2pPr>
            <a:lvl3pPr marL="11113" indent="0">
              <a:spcBef>
                <a:spcPts val="0"/>
              </a:spcBef>
              <a:buClrTx/>
              <a:buSzPct val="100000"/>
              <a:buNone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568FE056-2104-EF97-62FD-8DFA8867246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24601" y="4143825"/>
            <a:ext cx="3592216" cy="88872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ClrTx/>
              <a:buSzPct val="100000"/>
              <a:buNone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5B194622-45D7-2126-8894-A2DE5510A4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52101" y="4143825"/>
            <a:ext cx="3592216" cy="88872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11113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2pPr>
            <a:lvl3pPr marL="11113" indent="0">
              <a:spcBef>
                <a:spcPts val="0"/>
              </a:spcBef>
              <a:buClrTx/>
              <a:buSzPct val="100000"/>
              <a:buNone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" name="Text Placeholder 18">
            <a:extLst>
              <a:ext uri="{FF2B5EF4-FFF2-40B4-BE49-F238E27FC236}">
                <a16:creationId xmlns:a16="http://schemas.microsoft.com/office/drawing/2014/main" id="{0B68DA4D-5E70-13A0-D0DF-14C319DB301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5201" y="5034845"/>
            <a:ext cx="3599272" cy="47224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34146034-A84C-AD28-352E-09B39A9EB44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24601" y="5034845"/>
            <a:ext cx="3599272" cy="47224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38E5AF91-7188-2F19-8625-C2A68A42DB5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45045" y="5034845"/>
            <a:ext cx="3599272" cy="47224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89561007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Images-Quote-NoStr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BCECEF4-1286-8724-E9FF-D87BB3E9CDF9}"/>
              </a:ext>
            </a:extLst>
          </p:cNvPr>
          <p:cNvSpPr/>
          <p:nvPr userDrawn="1"/>
        </p:nvSpPr>
        <p:spPr>
          <a:xfrm>
            <a:off x="9200543" y="4443670"/>
            <a:ext cx="3003676" cy="1147045"/>
          </a:xfrm>
          <a:prstGeom prst="rect">
            <a:avLst/>
          </a:prstGeo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CB9C97-D426-D77F-D12F-2701CB814608}"/>
              </a:ext>
            </a:extLst>
          </p:cNvPr>
          <p:cNvSpPr/>
          <p:nvPr userDrawn="1"/>
        </p:nvSpPr>
        <p:spPr>
          <a:xfrm>
            <a:off x="6131949" y="4443670"/>
            <a:ext cx="3010103" cy="1147045"/>
          </a:xfrm>
          <a:prstGeom prst="rect">
            <a:avLst/>
          </a:prstGeo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7C8E8C9-440A-6A28-1CA0-1F6C9FC3F70E}"/>
              </a:ext>
            </a:extLst>
          </p:cNvPr>
          <p:cNvSpPr/>
          <p:nvPr userDrawn="1"/>
        </p:nvSpPr>
        <p:spPr>
          <a:xfrm>
            <a:off x="3063356" y="4443670"/>
            <a:ext cx="3010103" cy="1147045"/>
          </a:xfrm>
          <a:prstGeom prst="rect">
            <a:avLst/>
          </a:prstGeo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AEB64A9-1BBB-4FF5-68BD-0C076B8F6392}"/>
              </a:ext>
            </a:extLst>
          </p:cNvPr>
          <p:cNvSpPr/>
          <p:nvPr userDrawn="1"/>
        </p:nvSpPr>
        <p:spPr>
          <a:xfrm>
            <a:off x="-5237" y="4443670"/>
            <a:ext cx="3010103" cy="1147045"/>
          </a:xfrm>
          <a:prstGeom prst="rect">
            <a:avLst/>
          </a:prstGeo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694DBBBF-F5E3-0F6E-64E4-FC4D87E354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190961"/>
            <a:ext cx="3004866" cy="3250417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38A7A73A-24C7-74F2-E202-25A249F920C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63356" y="1190961"/>
            <a:ext cx="3010104" cy="3250417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F97A5FA1-E449-3A4A-8023-EF639213279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31949" y="1190961"/>
            <a:ext cx="3010103" cy="3250417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FC5BCB75-C5AF-3DFE-47B6-DB004C82DD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200542" y="1190961"/>
            <a:ext cx="2991458" cy="3250417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A4F576A-8E0F-F717-F778-BB6254EE3F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5201" y="3758882"/>
            <a:ext cx="2680472" cy="61811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800" b="1" cap="all" baseline="0">
                <a:solidFill>
                  <a:schemeClr val="bg1"/>
                </a:solidFill>
              </a:defRPr>
            </a:lvl1pPr>
            <a:lvl2pPr marL="11113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2pPr>
            <a:lvl3pPr marL="11113" indent="0">
              <a:spcBef>
                <a:spcPts val="0"/>
              </a:spcBef>
              <a:buClrTx/>
              <a:buSzPct val="100000"/>
              <a:buNone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 Placeholder 18">
            <a:extLst>
              <a:ext uri="{FF2B5EF4-FFF2-40B4-BE49-F238E27FC236}">
                <a16:creationId xmlns:a16="http://schemas.microsoft.com/office/drawing/2014/main" id="{0B68DA4D-5E70-13A0-D0DF-14C319DB301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5201" y="4508053"/>
            <a:ext cx="2680472" cy="90262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71C0F38F-71BD-86E6-DEDE-7BA98482C57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194490" y="3758882"/>
            <a:ext cx="2680472" cy="61811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800" b="1" cap="all" baseline="0">
                <a:solidFill>
                  <a:schemeClr val="bg1"/>
                </a:solidFill>
              </a:defRPr>
            </a:lvl1pPr>
            <a:lvl2pPr marL="11113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2pPr>
            <a:lvl3pPr marL="11113" indent="0">
              <a:spcBef>
                <a:spcPts val="0"/>
              </a:spcBef>
              <a:buClrTx/>
              <a:buSzPct val="100000"/>
              <a:buNone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C95B93C6-ED3C-47EE-CF42-32C5A2DE4A9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94490" y="4508053"/>
            <a:ext cx="2680472" cy="90262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D1BF1F46-CC19-D228-ED9B-D4BEB671FE2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3779" y="3758882"/>
            <a:ext cx="2680472" cy="61811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800" b="1" cap="all" baseline="0">
                <a:solidFill>
                  <a:schemeClr val="bg1"/>
                </a:solidFill>
              </a:defRPr>
            </a:lvl1pPr>
            <a:lvl2pPr marL="11113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2pPr>
            <a:lvl3pPr marL="11113" indent="0">
              <a:spcBef>
                <a:spcPts val="0"/>
              </a:spcBef>
              <a:buClrTx/>
              <a:buSzPct val="100000"/>
              <a:buNone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FE07171D-CD04-0D09-0E38-FF4521B2D4A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3779" y="4508053"/>
            <a:ext cx="2680472" cy="90262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Text Placeholder 18">
            <a:extLst>
              <a:ext uri="{FF2B5EF4-FFF2-40B4-BE49-F238E27FC236}">
                <a16:creationId xmlns:a16="http://schemas.microsoft.com/office/drawing/2014/main" id="{72717CAF-8AD3-1186-5D8B-0967361F1EA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335646" y="3758882"/>
            <a:ext cx="2680472" cy="61811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800" b="1" cap="all" baseline="0">
                <a:solidFill>
                  <a:schemeClr val="bg1"/>
                </a:solidFill>
              </a:defRPr>
            </a:lvl1pPr>
            <a:lvl2pPr marL="11113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2pPr>
            <a:lvl3pPr marL="11113" indent="0">
              <a:spcBef>
                <a:spcPts val="0"/>
              </a:spcBef>
              <a:buClrTx/>
              <a:buSzPct val="100000"/>
              <a:buNone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D9E5CDBE-CF72-D343-C1D9-00779832058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335646" y="4508053"/>
            <a:ext cx="2680472" cy="90262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CED77330-2511-42B3-5F69-06F2475C5A9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199091" y="5678328"/>
            <a:ext cx="9042400" cy="79472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accent1"/>
                </a:solidFill>
              </a:defRPr>
            </a:lvl1pPr>
            <a:lvl2pPr marL="11113" indent="0">
              <a:spcBef>
                <a:spcPts val="0"/>
              </a:spcBef>
              <a:buNone/>
              <a:tabLst/>
              <a:defRPr i="1">
                <a:solidFill>
                  <a:schemeClr val="accent2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3" name="object 6">
            <a:extLst>
              <a:ext uri="{FF2B5EF4-FFF2-40B4-BE49-F238E27FC236}">
                <a16:creationId xmlns:a16="http://schemas.microsoft.com/office/drawing/2014/main" id="{AA53D8E7-AD1F-8F1D-3C51-62D18C1ED545}"/>
              </a:ext>
            </a:extLst>
          </p:cNvPr>
          <p:cNvSpPr txBox="1"/>
          <p:nvPr userDrawn="1"/>
        </p:nvSpPr>
        <p:spPr>
          <a:xfrm>
            <a:off x="223746" y="5447322"/>
            <a:ext cx="903306" cy="2334998"/>
          </a:xfrm>
          <a:prstGeom prst="rect">
            <a:avLst/>
          </a:prstGeom>
        </p:spPr>
        <p:txBody>
          <a:bodyPr vert="horz" wrap="square" lIns="0" tIns="35560" rIns="0" bIns="0" rtlCol="0">
            <a:spAutoFit/>
          </a:bodyPr>
          <a:lstStyle/>
          <a:p>
            <a:pPr marL="20638" marR="5080" lvl="0" indent="-9525" defTabSz="914400" eaLnBrk="1" fontAlgn="auto" latinLnBrk="0" hangingPunct="1">
              <a:lnSpc>
                <a:spcPct val="90000"/>
              </a:lnSpc>
              <a:spcBef>
                <a:spcPts val="28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6600" kern="0">
                <a:gradFill>
                  <a:gsLst>
                    <a:gs pos="0">
                      <a:schemeClr val="accent2"/>
                    </a:gs>
                    <a:gs pos="39000">
                      <a:srgbClr val="0090D4"/>
                    </a:gs>
                    <a:gs pos="80000">
                      <a:schemeClr val="accent1"/>
                    </a:gs>
                  </a:gsLst>
                  <a:lin ang="13800000" scaled="0"/>
                </a:gradFill>
                <a:latin typeface="Georgia" panose="02040502050405020303" pitchFamily="18" charset="0"/>
                <a:cs typeface="Poppins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2000423651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DA33C77-A882-E6C6-DC6D-8F4A15B3DEB2}"/>
              </a:ext>
            </a:extLst>
          </p:cNvPr>
          <p:cNvSpPr/>
          <p:nvPr userDrawn="1"/>
        </p:nvSpPr>
        <p:spPr>
          <a:xfrm>
            <a:off x="-5237" y="4050998"/>
            <a:ext cx="2991926" cy="1561079"/>
          </a:xfrm>
          <a:prstGeom prst="rect">
            <a:avLst/>
          </a:prstGeo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B2678A-E3E5-19BE-F309-B5D8DB42AA90}"/>
              </a:ext>
            </a:extLst>
          </p:cNvPr>
          <p:cNvSpPr/>
          <p:nvPr userDrawn="1"/>
        </p:nvSpPr>
        <p:spPr>
          <a:xfrm>
            <a:off x="3063200" y="4050998"/>
            <a:ext cx="2991926" cy="1561079"/>
          </a:xfrm>
          <a:prstGeom prst="rect">
            <a:avLst/>
          </a:prstGeo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3A44373-D9A2-5193-BCDC-A509AC1AB774}"/>
              </a:ext>
            </a:extLst>
          </p:cNvPr>
          <p:cNvSpPr/>
          <p:nvPr userDrawn="1"/>
        </p:nvSpPr>
        <p:spPr>
          <a:xfrm>
            <a:off x="6131637" y="4050998"/>
            <a:ext cx="2991926" cy="1561079"/>
          </a:xfrm>
          <a:prstGeom prst="rect">
            <a:avLst/>
          </a:prstGeo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CCBDC62-E7FE-CD51-CEF9-6D7D650B1D1C}"/>
              </a:ext>
            </a:extLst>
          </p:cNvPr>
          <p:cNvSpPr/>
          <p:nvPr userDrawn="1"/>
        </p:nvSpPr>
        <p:spPr>
          <a:xfrm>
            <a:off x="9200075" y="4050998"/>
            <a:ext cx="2991926" cy="1561079"/>
          </a:xfrm>
          <a:prstGeom prst="rect">
            <a:avLst/>
          </a:prstGeo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694DBBBF-F5E3-0F6E-64E4-FC4D87E354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190962"/>
            <a:ext cx="3004866" cy="2871828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38A7A73A-24C7-74F2-E202-25A249F920C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63200" y="1190962"/>
            <a:ext cx="3010104" cy="2871828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F97A5FA1-E449-3A4A-8023-EF639213279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31637" y="1190962"/>
            <a:ext cx="3010103" cy="287182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FC5BCB75-C5AF-3DFE-47B6-DB004C82DD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200075" y="1190962"/>
            <a:ext cx="2991458" cy="287182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CED77330-2511-42B3-5F69-06F2475C5A9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199091" y="5678328"/>
            <a:ext cx="9042400" cy="79472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accent1"/>
                </a:solidFill>
              </a:defRPr>
            </a:lvl1pPr>
            <a:lvl2pPr marL="11113" indent="0">
              <a:spcBef>
                <a:spcPts val="0"/>
              </a:spcBef>
              <a:buNone/>
              <a:tabLst/>
              <a:defRPr i="1">
                <a:solidFill>
                  <a:schemeClr val="accent2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3" name="object 6">
            <a:extLst>
              <a:ext uri="{FF2B5EF4-FFF2-40B4-BE49-F238E27FC236}">
                <a16:creationId xmlns:a16="http://schemas.microsoft.com/office/drawing/2014/main" id="{AA53D8E7-AD1F-8F1D-3C51-62D18C1ED545}"/>
              </a:ext>
            </a:extLst>
          </p:cNvPr>
          <p:cNvSpPr txBox="1"/>
          <p:nvPr userDrawn="1"/>
        </p:nvSpPr>
        <p:spPr>
          <a:xfrm>
            <a:off x="223746" y="5447322"/>
            <a:ext cx="903306" cy="2334998"/>
          </a:xfrm>
          <a:prstGeom prst="rect">
            <a:avLst/>
          </a:prstGeom>
        </p:spPr>
        <p:txBody>
          <a:bodyPr vert="horz" wrap="square" lIns="0" tIns="35560" rIns="0" bIns="0" rtlCol="0">
            <a:spAutoFit/>
          </a:bodyPr>
          <a:lstStyle/>
          <a:p>
            <a:pPr marL="20638" marR="5080" lvl="0" indent="-9525" defTabSz="914400" eaLnBrk="1" fontAlgn="auto" latinLnBrk="0" hangingPunct="1">
              <a:lnSpc>
                <a:spcPct val="90000"/>
              </a:lnSpc>
              <a:spcBef>
                <a:spcPts val="28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6600" kern="0">
                <a:gradFill>
                  <a:gsLst>
                    <a:gs pos="0">
                      <a:schemeClr val="accent2"/>
                    </a:gs>
                    <a:gs pos="39000">
                      <a:srgbClr val="0090D4"/>
                    </a:gs>
                    <a:gs pos="80000">
                      <a:schemeClr val="accent1"/>
                    </a:gs>
                  </a:gsLst>
                  <a:lin ang="13800000" scaled="0"/>
                </a:gradFill>
                <a:latin typeface="Georgia" panose="02040502050405020303" pitchFamily="18" charset="0"/>
                <a:cs typeface="Poppins"/>
              </a:rPr>
              <a:t>“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A9C677B-CDB7-07CF-D056-4120AF6757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239" y="4310529"/>
            <a:ext cx="12197239" cy="958790"/>
          </a:xfrm>
          <a:prstGeom prst="rect">
            <a:avLst/>
          </a:prstGeom>
        </p:spPr>
      </p:pic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95163F65-0B24-59DC-C854-E6C709C116D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1451" y="4143825"/>
            <a:ext cx="2786129" cy="72281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11113" indent="0">
              <a:spcBef>
                <a:spcPts val="90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2pPr>
            <a:lvl3pPr marL="11113" indent="0">
              <a:spcBef>
                <a:spcPts val="0"/>
              </a:spcBef>
              <a:buClrTx/>
              <a:buSzPct val="100000"/>
              <a:buNone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7B6EB08-E5FA-9DFD-7257-640A1B4795E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76152" y="4143824"/>
            <a:ext cx="2786129" cy="72281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11113" indent="0">
              <a:spcBef>
                <a:spcPts val="90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2pPr>
            <a:lvl3pPr marL="11113" indent="0">
              <a:spcBef>
                <a:spcPts val="0"/>
              </a:spcBef>
              <a:buClrTx/>
              <a:buSzPct val="100000"/>
              <a:buNone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1" name="Text Placeholder 18">
            <a:extLst>
              <a:ext uri="{FF2B5EF4-FFF2-40B4-BE49-F238E27FC236}">
                <a16:creationId xmlns:a16="http://schemas.microsoft.com/office/drawing/2014/main" id="{5BD3FCEB-F802-B77F-D509-1954C85D005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40853" y="4143824"/>
            <a:ext cx="2786129" cy="72281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11113" indent="0">
              <a:spcBef>
                <a:spcPts val="90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2pPr>
            <a:lvl3pPr marL="11113" indent="0">
              <a:spcBef>
                <a:spcPts val="0"/>
              </a:spcBef>
              <a:buClrTx/>
              <a:buSzPct val="100000"/>
              <a:buNone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C6793C08-57E4-3D6D-1E1E-61C0BD24F6D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305555" y="4143824"/>
            <a:ext cx="2786129" cy="72281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11113" indent="0">
              <a:spcBef>
                <a:spcPts val="90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2pPr>
            <a:lvl3pPr marL="11113" indent="0">
              <a:spcBef>
                <a:spcPts val="0"/>
              </a:spcBef>
              <a:buClrTx/>
              <a:buSzPct val="100000"/>
              <a:buNone/>
              <a:tabLst/>
              <a:defRPr sz="11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" name="Text Placeholder 18">
            <a:extLst>
              <a:ext uri="{FF2B5EF4-FFF2-40B4-BE49-F238E27FC236}">
                <a16:creationId xmlns:a16="http://schemas.microsoft.com/office/drawing/2014/main" id="{C6498351-F434-A235-8104-B7136F7F60D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1451" y="5034845"/>
            <a:ext cx="2786129" cy="47224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157F07C5-2F80-B4E7-AF02-F9D495403BC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176152" y="5034845"/>
            <a:ext cx="2786129" cy="47224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D5DBCA0C-9A28-718C-77E0-AE9001A748B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240853" y="5034845"/>
            <a:ext cx="2786129" cy="47224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1859B3FB-3DE6-D209-38B5-F0579A02310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305555" y="5034845"/>
            <a:ext cx="2786129" cy="47224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54903787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CA0EE2B-37A5-6D7C-A6A8-78352E8EEF93}"/>
              </a:ext>
            </a:extLst>
          </p:cNvPr>
          <p:cNvSpPr/>
          <p:nvPr userDrawn="1"/>
        </p:nvSpPr>
        <p:spPr>
          <a:xfrm>
            <a:off x="8173563" y="4038984"/>
            <a:ext cx="4018438" cy="1531287"/>
          </a:xfrm>
          <a:prstGeom prst="rect">
            <a:avLst/>
          </a:prstGeom>
          <a:gradFill>
            <a:gsLst>
              <a:gs pos="0">
                <a:schemeClr val="accent2">
                  <a:alpha val="65000"/>
                </a:schemeClr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F7369F-481A-7336-4C51-F6BC0C273731}"/>
              </a:ext>
            </a:extLst>
          </p:cNvPr>
          <p:cNvSpPr/>
          <p:nvPr userDrawn="1"/>
        </p:nvSpPr>
        <p:spPr>
          <a:xfrm>
            <a:off x="4092629" y="4038984"/>
            <a:ext cx="4018438" cy="1531287"/>
          </a:xfrm>
          <a:prstGeom prst="rect">
            <a:avLst/>
          </a:prstGeom>
          <a:gradFill>
            <a:gsLst>
              <a:gs pos="0">
                <a:schemeClr val="accent2">
                  <a:alpha val="65000"/>
                </a:schemeClr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5F9C7F-6C4A-0994-8057-DE12D56CDFF5}"/>
              </a:ext>
            </a:extLst>
          </p:cNvPr>
          <p:cNvSpPr/>
          <p:nvPr userDrawn="1"/>
        </p:nvSpPr>
        <p:spPr>
          <a:xfrm>
            <a:off x="-5238" y="4038984"/>
            <a:ext cx="4018438" cy="1531287"/>
          </a:xfrm>
          <a:prstGeom prst="rect">
            <a:avLst/>
          </a:prstGeom>
          <a:gradFill>
            <a:gsLst>
              <a:gs pos="0">
                <a:schemeClr val="accent2">
                  <a:alpha val="65000"/>
                </a:schemeClr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622B2AB-1374-9CC3-59FE-212494B332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239" y="4407847"/>
            <a:ext cx="12197240" cy="958790"/>
          </a:xfrm>
          <a:prstGeom prst="rect">
            <a:avLst/>
          </a:prstGeom>
        </p:spPr>
      </p:pic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00E97E44-8FC0-3FC9-1BE9-991C21123F5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1243401"/>
            <a:ext cx="4013201" cy="2802722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Picture Placeholder 5">
            <a:extLst>
              <a:ext uri="{FF2B5EF4-FFF2-40B4-BE49-F238E27FC236}">
                <a16:creationId xmlns:a16="http://schemas.microsoft.com/office/drawing/2014/main" id="{EA0D26B2-640E-5048-EBAB-3D093344231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92628" y="1262082"/>
            <a:ext cx="4010479" cy="2784042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Picture Placeholder 5">
            <a:extLst>
              <a:ext uri="{FF2B5EF4-FFF2-40B4-BE49-F238E27FC236}">
                <a16:creationId xmlns:a16="http://schemas.microsoft.com/office/drawing/2014/main" id="{CDC550D8-4838-1000-B8AF-EE50F7398E3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73564" y="1262082"/>
            <a:ext cx="4018436" cy="2784042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683543F5-CE31-7178-79FD-E374B286C19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5126" y="5669454"/>
            <a:ext cx="9477373" cy="78779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228600" indent="-203200">
              <a:buClrTx/>
              <a:buSzPct val="100000"/>
              <a:buFont typeface="Arial" panose="020B0604020202020204" pitchFamily="34" charset="0"/>
              <a:buChar char="•"/>
              <a:tabLst/>
              <a:defRPr sz="1800">
                <a:solidFill>
                  <a:schemeClr val="accent1"/>
                </a:solidFill>
              </a:defRPr>
            </a:lvl2pPr>
            <a:lvl3pPr marL="508000" indent="-203200">
              <a:buClrTx/>
              <a:buSzPct val="100000"/>
              <a:tabLst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239FA56A-220B-29B2-DAE4-1425BB5900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5201" y="4131441"/>
            <a:ext cx="3474773" cy="123519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E7172226-49EB-E131-AD12-E32FD528AF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24601" y="4131441"/>
            <a:ext cx="3474773" cy="123519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2F33D389-4F2B-8020-91B8-4969EA61A5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52101" y="4131441"/>
            <a:ext cx="3474773" cy="123519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88175800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hotos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F0704A6-EB96-47B6-D789-A083CBEBCCBE}"/>
              </a:ext>
            </a:extLst>
          </p:cNvPr>
          <p:cNvSpPr/>
          <p:nvPr userDrawn="1"/>
        </p:nvSpPr>
        <p:spPr>
          <a:xfrm>
            <a:off x="8173563" y="4038984"/>
            <a:ext cx="4018438" cy="1531287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5A8E3D7-B0AD-2262-07D6-56E82295EDB5}"/>
              </a:ext>
            </a:extLst>
          </p:cNvPr>
          <p:cNvSpPr/>
          <p:nvPr userDrawn="1"/>
        </p:nvSpPr>
        <p:spPr>
          <a:xfrm>
            <a:off x="4092629" y="4038984"/>
            <a:ext cx="4018438" cy="1531287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517D29-B65A-3559-09AF-260AB0477C1A}"/>
              </a:ext>
            </a:extLst>
          </p:cNvPr>
          <p:cNvSpPr/>
          <p:nvPr userDrawn="1"/>
        </p:nvSpPr>
        <p:spPr>
          <a:xfrm>
            <a:off x="-5238" y="4038984"/>
            <a:ext cx="4018438" cy="1531287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00E97E44-8FC0-3FC9-1BE9-991C21123F5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1243401"/>
            <a:ext cx="4013201" cy="2802722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Picture Placeholder 5">
            <a:extLst>
              <a:ext uri="{FF2B5EF4-FFF2-40B4-BE49-F238E27FC236}">
                <a16:creationId xmlns:a16="http://schemas.microsoft.com/office/drawing/2014/main" id="{EA0D26B2-640E-5048-EBAB-3D093344231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92628" y="1262082"/>
            <a:ext cx="4010479" cy="2784042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Picture Placeholder 5">
            <a:extLst>
              <a:ext uri="{FF2B5EF4-FFF2-40B4-BE49-F238E27FC236}">
                <a16:creationId xmlns:a16="http://schemas.microsoft.com/office/drawing/2014/main" id="{CDC550D8-4838-1000-B8AF-EE50F7398E3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73564" y="1262082"/>
            <a:ext cx="4018436" cy="2784042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683543F5-CE31-7178-79FD-E374B286C19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5126" y="5669454"/>
            <a:ext cx="9477373" cy="78779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228600" indent="-203200">
              <a:buClrTx/>
              <a:buSzPct val="100000"/>
              <a:buFont typeface="Arial" panose="020B0604020202020204" pitchFamily="34" charset="0"/>
              <a:buChar char="•"/>
              <a:tabLst/>
              <a:defRPr sz="1800">
                <a:solidFill>
                  <a:schemeClr val="accent1"/>
                </a:solidFill>
              </a:defRPr>
            </a:lvl2pPr>
            <a:lvl3pPr marL="508000" indent="-203200">
              <a:buClrTx/>
              <a:buSzPct val="100000"/>
              <a:tabLst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239FA56A-220B-29B2-DAE4-1425BB5900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5201" y="4131441"/>
            <a:ext cx="3474773" cy="123519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E7172226-49EB-E131-AD12-E32FD528AF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24601" y="4131441"/>
            <a:ext cx="3474773" cy="123519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2F33D389-4F2B-8020-91B8-4969EA61A5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52101" y="4131441"/>
            <a:ext cx="3474773" cy="123519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28600" indent="-203200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B54A7CC-1893-9565-B469-08F820CC1A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239" y="4407847"/>
            <a:ext cx="12197240" cy="958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89308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2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E963B71A-4388-F238-AD31-D2DBEA79009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A8496469-D70B-10BF-0592-AF37C2FE5D9E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l="4715" r="28273"/>
          <a:stretch/>
        </p:blipFill>
        <p:spPr>
          <a:xfrm>
            <a:off x="-1" y="503797"/>
            <a:ext cx="12191999" cy="3893204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F47FC550-B0A3-CD26-E090-2C7499C94B5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7413" y="5699303"/>
            <a:ext cx="1760018" cy="419052"/>
          </a:xfrm>
          <a:prstGeom prst="rect">
            <a:avLst/>
          </a:prstGeom>
        </p:spPr>
      </p:pic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42019792-DAC5-1B4E-85F9-AE2F61BF95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2401" y="5659830"/>
            <a:ext cx="8997028" cy="276999"/>
          </a:xfrm>
        </p:spPr>
        <p:txBody>
          <a:bodyPr t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BCA326E-AC90-3CE6-EE00-54D2DAE5D3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401" y="4397001"/>
            <a:ext cx="8997024" cy="97446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90000"/>
              </a:lnSpc>
              <a:defRPr sz="4000" b="0" i="0" cap="none" spc="0" baseline="0">
                <a:solidFill>
                  <a:schemeClr val="bg1"/>
                </a:solidFill>
                <a:effectLst/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9057D35C-DD64-3F7E-6D19-23BE6DBF56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401" y="5958654"/>
            <a:ext cx="8997028" cy="215444"/>
          </a:xfrm>
        </p:spPr>
        <p:txBody>
          <a:bodyPr t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105867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B63C771-2ADA-FC2A-33CD-AF6A8BBF746B}"/>
              </a:ext>
            </a:extLst>
          </p:cNvPr>
          <p:cNvSpPr/>
          <p:nvPr userDrawn="1"/>
        </p:nvSpPr>
        <p:spPr>
          <a:xfrm>
            <a:off x="9187638" y="4428680"/>
            <a:ext cx="3010103" cy="1147045"/>
          </a:xfrm>
          <a:prstGeom prst="rect">
            <a:avLst/>
          </a:prstGeom>
          <a:gradFill>
            <a:gsLst>
              <a:gs pos="0">
                <a:schemeClr val="accent2">
                  <a:alpha val="65000"/>
                </a:schemeClr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578E8FB-1E4D-EAD4-B8A1-A458A255DCC3}"/>
              </a:ext>
            </a:extLst>
          </p:cNvPr>
          <p:cNvSpPr/>
          <p:nvPr userDrawn="1"/>
        </p:nvSpPr>
        <p:spPr>
          <a:xfrm>
            <a:off x="6130722" y="4428680"/>
            <a:ext cx="3010103" cy="1147045"/>
          </a:xfrm>
          <a:prstGeom prst="rect">
            <a:avLst/>
          </a:prstGeom>
          <a:gradFill>
            <a:gsLst>
              <a:gs pos="0">
                <a:schemeClr val="accent2">
                  <a:alpha val="65000"/>
                </a:schemeClr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47BA41F-256F-6C01-BC93-4362169C847F}"/>
              </a:ext>
            </a:extLst>
          </p:cNvPr>
          <p:cNvSpPr/>
          <p:nvPr userDrawn="1"/>
        </p:nvSpPr>
        <p:spPr>
          <a:xfrm>
            <a:off x="3064364" y="4428680"/>
            <a:ext cx="3010103" cy="1147045"/>
          </a:xfrm>
          <a:prstGeom prst="rect">
            <a:avLst/>
          </a:prstGeom>
          <a:gradFill>
            <a:gsLst>
              <a:gs pos="0">
                <a:schemeClr val="accent2">
                  <a:alpha val="65000"/>
                </a:schemeClr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BF5964C-AE96-D456-3169-750FF443D2FB}"/>
              </a:ext>
            </a:extLst>
          </p:cNvPr>
          <p:cNvSpPr/>
          <p:nvPr userDrawn="1"/>
        </p:nvSpPr>
        <p:spPr>
          <a:xfrm>
            <a:off x="-5237" y="4428680"/>
            <a:ext cx="3010103" cy="1147045"/>
          </a:xfrm>
          <a:prstGeom prst="rect">
            <a:avLst/>
          </a:prstGeom>
          <a:gradFill>
            <a:gsLst>
              <a:gs pos="0">
                <a:schemeClr val="accent2">
                  <a:alpha val="65000"/>
                </a:schemeClr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694DBBBF-F5E3-0F6E-64E4-FC4D87E354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263671"/>
            <a:ext cx="3004866" cy="3155929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38A7A73A-24C7-74F2-E202-25A249F920C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63356" y="1263671"/>
            <a:ext cx="3010104" cy="3155929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F97A5FA1-E449-3A4A-8023-EF639213279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31949" y="1263671"/>
            <a:ext cx="3010103" cy="3155929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FC5BCB75-C5AF-3DFE-47B6-DB004C82DD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200542" y="1263671"/>
            <a:ext cx="2991458" cy="3155929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" name="Text Placeholder 18">
            <a:extLst>
              <a:ext uri="{FF2B5EF4-FFF2-40B4-BE49-F238E27FC236}">
                <a16:creationId xmlns:a16="http://schemas.microsoft.com/office/drawing/2014/main" id="{0B68DA4D-5E70-13A0-D0DF-14C319DB301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5201" y="4487733"/>
            <a:ext cx="2680472" cy="90262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C95B93C6-ED3C-47EE-CF42-32C5A2DE4A9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94490" y="4487733"/>
            <a:ext cx="2680472" cy="90262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FE07171D-CD04-0D09-0E38-FF4521B2D4A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3779" y="4487733"/>
            <a:ext cx="2680472" cy="90262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D9E5CDBE-CF72-D343-C1D9-00779832058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335646" y="4487733"/>
            <a:ext cx="2680472" cy="90262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01084C55-DF3D-33C4-AA43-37F8AF7DDA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5126" y="5669454"/>
            <a:ext cx="9477373" cy="78779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228600" indent="-203200">
              <a:buClrTx/>
              <a:buSzPct val="100000"/>
              <a:buFont typeface="Arial" panose="020B0604020202020204" pitchFamily="34" charset="0"/>
              <a:buChar char="•"/>
              <a:tabLst/>
              <a:defRPr sz="1800">
                <a:solidFill>
                  <a:schemeClr val="accent1"/>
                </a:solidFill>
              </a:defRPr>
            </a:lvl2pPr>
            <a:lvl3pPr marL="508000" indent="-203200">
              <a:buClrTx/>
              <a:buSzPct val="100000"/>
              <a:tabLst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64940301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hotos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BFF8423-F5DC-6FB7-D323-EFB3837EE747}"/>
              </a:ext>
            </a:extLst>
          </p:cNvPr>
          <p:cNvSpPr/>
          <p:nvPr userDrawn="1"/>
        </p:nvSpPr>
        <p:spPr>
          <a:xfrm>
            <a:off x="9187638" y="4428680"/>
            <a:ext cx="3010103" cy="1147045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C11FE9-C450-33BE-2E6C-8C04AF89DA31}"/>
              </a:ext>
            </a:extLst>
          </p:cNvPr>
          <p:cNvSpPr/>
          <p:nvPr userDrawn="1"/>
        </p:nvSpPr>
        <p:spPr>
          <a:xfrm>
            <a:off x="6130722" y="4428680"/>
            <a:ext cx="3010103" cy="1147045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6F845C-44EA-8C48-4E9E-1D2A9632977C}"/>
              </a:ext>
            </a:extLst>
          </p:cNvPr>
          <p:cNvSpPr/>
          <p:nvPr userDrawn="1"/>
        </p:nvSpPr>
        <p:spPr>
          <a:xfrm>
            <a:off x="3064364" y="4428680"/>
            <a:ext cx="3010103" cy="1147045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D9AB46-ACC6-65FE-E8B5-568D6DDCD25C}"/>
              </a:ext>
            </a:extLst>
          </p:cNvPr>
          <p:cNvSpPr/>
          <p:nvPr userDrawn="1"/>
        </p:nvSpPr>
        <p:spPr>
          <a:xfrm>
            <a:off x="-5237" y="4428680"/>
            <a:ext cx="3010103" cy="1147045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694DBBBF-F5E3-0F6E-64E4-FC4D87E354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263671"/>
            <a:ext cx="3004866" cy="3155929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38A7A73A-24C7-74F2-E202-25A249F920C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63356" y="1263671"/>
            <a:ext cx="3010104" cy="3155929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F97A5FA1-E449-3A4A-8023-EF639213279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31949" y="1263671"/>
            <a:ext cx="3010103" cy="3155929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FC5BCB75-C5AF-3DFE-47B6-DB004C82DD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200542" y="1263671"/>
            <a:ext cx="2991458" cy="3155929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" name="Text Placeholder 18">
            <a:extLst>
              <a:ext uri="{FF2B5EF4-FFF2-40B4-BE49-F238E27FC236}">
                <a16:creationId xmlns:a16="http://schemas.microsoft.com/office/drawing/2014/main" id="{0B68DA4D-5E70-13A0-D0DF-14C319DB301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5201" y="4487733"/>
            <a:ext cx="2680472" cy="90262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C95B93C6-ED3C-47EE-CF42-32C5A2DE4A9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94490" y="4487733"/>
            <a:ext cx="2680472" cy="90262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FE07171D-CD04-0D09-0E38-FF4521B2D4A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3779" y="4487733"/>
            <a:ext cx="2680472" cy="90262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D9E5CDBE-CF72-D343-C1D9-00779832058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335646" y="4487733"/>
            <a:ext cx="2680472" cy="90262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01084C55-DF3D-33C4-AA43-37F8AF7DDA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5126" y="5669454"/>
            <a:ext cx="9477373" cy="78779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228600" indent="-203200">
              <a:buClrTx/>
              <a:buSzPct val="100000"/>
              <a:buFont typeface="Arial" panose="020B0604020202020204" pitchFamily="34" charset="0"/>
              <a:buChar char="•"/>
              <a:tabLst/>
              <a:defRPr sz="1800">
                <a:solidFill>
                  <a:schemeClr val="accent1"/>
                </a:solidFill>
              </a:defRPr>
            </a:lvl2pPr>
            <a:lvl3pPr marL="508000" indent="-203200">
              <a:buClrTx/>
              <a:buSzPct val="100000"/>
              <a:tabLst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2800801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PhotoAdditional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B63C771-2ADA-FC2A-33CD-AF6A8BBF746B}"/>
              </a:ext>
            </a:extLst>
          </p:cNvPr>
          <p:cNvSpPr/>
          <p:nvPr userDrawn="1"/>
        </p:nvSpPr>
        <p:spPr>
          <a:xfrm>
            <a:off x="9187638" y="4428680"/>
            <a:ext cx="3010103" cy="1147045"/>
          </a:xfrm>
          <a:prstGeom prst="rect">
            <a:avLst/>
          </a:prstGeom>
          <a:gradFill>
            <a:gsLst>
              <a:gs pos="0">
                <a:schemeClr val="accent2">
                  <a:alpha val="65000"/>
                </a:schemeClr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578E8FB-1E4D-EAD4-B8A1-A458A255DCC3}"/>
              </a:ext>
            </a:extLst>
          </p:cNvPr>
          <p:cNvSpPr/>
          <p:nvPr userDrawn="1"/>
        </p:nvSpPr>
        <p:spPr>
          <a:xfrm>
            <a:off x="6130722" y="4428680"/>
            <a:ext cx="3010103" cy="1147045"/>
          </a:xfrm>
          <a:prstGeom prst="rect">
            <a:avLst/>
          </a:prstGeom>
          <a:gradFill>
            <a:gsLst>
              <a:gs pos="0">
                <a:schemeClr val="accent2">
                  <a:alpha val="65000"/>
                </a:schemeClr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47BA41F-256F-6C01-BC93-4362169C847F}"/>
              </a:ext>
            </a:extLst>
          </p:cNvPr>
          <p:cNvSpPr/>
          <p:nvPr userDrawn="1"/>
        </p:nvSpPr>
        <p:spPr>
          <a:xfrm>
            <a:off x="3064364" y="4428680"/>
            <a:ext cx="3010103" cy="1147045"/>
          </a:xfrm>
          <a:prstGeom prst="rect">
            <a:avLst/>
          </a:prstGeom>
          <a:gradFill>
            <a:gsLst>
              <a:gs pos="0">
                <a:schemeClr val="accent2">
                  <a:alpha val="65000"/>
                </a:schemeClr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BF5964C-AE96-D456-3169-750FF443D2FB}"/>
              </a:ext>
            </a:extLst>
          </p:cNvPr>
          <p:cNvSpPr/>
          <p:nvPr userDrawn="1"/>
        </p:nvSpPr>
        <p:spPr>
          <a:xfrm>
            <a:off x="-5237" y="4428680"/>
            <a:ext cx="3010103" cy="1147045"/>
          </a:xfrm>
          <a:prstGeom prst="rect">
            <a:avLst/>
          </a:prstGeom>
          <a:gradFill>
            <a:gsLst>
              <a:gs pos="0">
                <a:schemeClr val="accent2">
                  <a:alpha val="65000"/>
                </a:schemeClr>
              </a:gs>
              <a:gs pos="39000">
                <a:srgbClr val="0090D4"/>
              </a:gs>
              <a:gs pos="80000">
                <a:schemeClr val="accent1"/>
              </a:gs>
            </a:gsLst>
            <a:lin ang="8400000" scaled="0"/>
          </a:gra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algn="l">
              <a:spcBef>
                <a:spcPts val="0"/>
              </a:spcBef>
            </a:pPr>
            <a:endParaRPr lang="en-US" sz="140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694DBBBF-F5E3-0F6E-64E4-FC4D87E354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326640"/>
            <a:ext cx="3004866" cy="209296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38A7A73A-24C7-74F2-E202-25A249F920C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63356" y="2326640"/>
            <a:ext cx="3010104" cy="209296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F97A5FA1-E449-3A4A-8023-EF639213279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31949" y="2326640"/>
            <a:ext cx="3010103" cy="209296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FC5BCB75-C5AF-3DFE-47B6-DB004C82DD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200542" y="2326640"/>
            <a:ext cx="2991458" cy="209296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46A21D3-B231-1F4A-F492-6D15694057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7850" y="4828591"/>
            <a:ext cx="10909861" cy="647733"/>
          </a:xfrm>
          <a:prstGeom prst="rect">
            <a:avLst/>
          </a:prstGeom>
        </p:spPr>
      </p:pic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B8D90489-D480-11E6-1EDB-271F9E81E38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5126" y="5669454"/>
            <a:ext cx="9477373" cy="78779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228600" indent="-203200">
              <a:buClrTx/>
              <a:buSzPct val="100000"/>
              <a:buFont typeface="Arial" panose="020B0604020202020204" pitchFamily="34" charset="0"/>
              <a:buChar char="•"/>
              <a:tabLst/>
              <a:defRPr sz="1800">
                <a:solidFill>
                  <a:schemeClr val="accent1"/>
                </a:solidFill>
              </a:defRPr>
            </a:lvl2pPr>
            <a:lvl3pPr marL="508000" indent="-203200">
              <a:buClrTx/>
              <a:buSzPct val="100000"/>
              <a:tabLst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 Placeholder 18">
            <a:extLst>
              <a:ext uri="{FF2B5EF4-FFF2-40B4-BE49-F238E27FC236}">
                <a16:creationId xmlns:a16="http://schemas.microsoft.com/office/drawing/2014/main" id="{0B68DA4D-5E70-13A0-D0DF-14C319DB301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5201" y="4487733"/>
            <a:ext cx="2680472" cy="90262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C95B93C6-ED3C-47EE-CF42-32C5A2DE4A9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94490" y="4487733"/>
            <a:ext cx="2680472" cy="90262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FE07171D-CD04-0D09-0E38-FF4521B2D4A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3779" y="4487733"/>
            <a:ext cx="2680472" cy="90262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D9E5CDBE-CF72-D343-C1D9-00779832058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335646" y="4487733"/>
            <a:ext cx="2680472" cy="90262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 Placeholder 18">
            <a:extLst>
              <a:ext uri="{FF2B5EF4-FFF2-40B4-BE49-F238E27FC236}">
                <a16:creationId xmlns:a16="http://schemas.microsoft.com/office/drawing/2014/main" id="{652DDC0A-033A-BE20-7DB9-FA526D7C4DD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65126" y="1574974"/>
            <a:ext cx="11461748" cy="6445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228600" indent="-203200">
              <a:buClrTx/>
              <a:buSzPct val="100000"/>
              <a:buFont typeface="Arial" panose="020B0604020202020204" pitchFamily="34" charset="0"/>
              <a:buChar char="•"/>
              <a:tabLst/>
              <a:defRPr sz="1800">
                <a:solidFill>
                  <a:schemeClr val="accent1"/>
                </a:solidFill>
              </a:defRPr>
            </a:lvl2pPr>
            <a:lvl3pPr marL="508000" indent="-203200">
              <a:buClrTx/>
              <a:buSzPct val="100000"/>
              <a:tabLst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30382044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PhotoAdditionalText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CF15BA0-0A30-CCFB-6D31-B241B7C01826}"/>
              </a:ext>
            </a:extLst>
          </p:cNvPr>
          <p:cNvSpPr/>
          <p:nvPr userDrawn="1"/>
        </p:nvSpPr>
        <p:spPr>
          <a:xfrm>
            <a:off x="9187638" y="4428680"/>
            <a:ext cx="3010103" cy="1147045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91ACFC3-A153-FBD7-3240-1F79A4ADF618}"/>
              </a:ext>
            </a:extLst>
          </p:cNvPr>
          <p:cNvSpPr/>
          <p:nvPr userDrawn="1"/>
        </p:nvSpPr>
        <p:spPr>
          <a:xfrm>
            <a:off x="6130722" y="4428680"/>
            <a:ext cx="3010103" cy="1147045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79C872D-D73B-BF44-327E-A7E90A65F785}"/>
              </a:ext>
            </a:extLst>
          </p:cNvPr>
          <p:cNvSpPr/>
          <p:nvPr userDrawn="1"/>
        </p:nvSpPr>
        <p:spPr>
          <a:xfrm>
            <a:off x="3064364" y="4428680"/>
            <a:ext cx="3010103" cy="1147045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ADFFDFD-669D-88A0-95A4-A1F83DAE7022}"/>
              </a:ext>
            </a:extLst>
          </p:cNvPr>
          <p:cNvSpPr/>
          <p:nvPr userDrawn="1"/>
        </p:nvSpPr>
        <p:spPr>
          <a:xfrm>
            <a:off x="-5237" y="4428680"/>
            <a:ext cx="3010103" cy="1147045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flat">
            <a:noFill/>
            <a:prstDash val="solid"/>
            <a:miter/>
          </a:ln>
        </p:spPr>
        <p:txBody>
          <a:bodyPr wrap="none" tIns="91440" bIns="9144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694DBBBF-F5E3-0F6E-64E4-FC4D87E354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326640"/>
            <a:ext cx="3004866" cy="209296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38A7A73A-24C7-74F2-E202-25A249F920C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63356" y="2326640"/>
            <a:ext cx="3010104" cy="209296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F97A5FA1-E449-3A4A-8023-EF639213279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31949" y="2326640"/>
            <a:ext cx="3010103" cy="209296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FC5BCB75-C5AF-3DFE-47B6-DB004C82DD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200542" y="2326640"/>
            <a:ext cx="2991458" cy="209296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D39C6A5-A0AE-9A5C-A03A-3457ED4C94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7850" y="4828591"/>
            <a:ext cx="10909861" cy="647733"/>
          </a:xfrm>
          <a:prstGeom prst="rect">
            <a:avLst/>
          </a:prstGeom>
        </p:spPr>
      </p:pic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B8D90489-D480-11E6-1EDB-271F9E81E38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5126" y="5669454"/>
            <a:ext cx="9477373" cy="78779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228600" indent="-203200">
              <a:buClrTx/>
              <a:buSzPct val="100000"/>
              <a:buFont typeface="Arial" panose="020B0604020202020204" pitchFamily="34" charset="0"/>
              <a:buChar char="•"/>
              <a:tabLst/>
              <a:defRPr sz="1800">
                <a:solidFill>
                  <a:schemeClr val="accent1"/>
                </a:solidFill>
              </a:defRPr>
            </a:lvl2pPr>
            <a:lvl3pPr marL="508000" indent="-203200">
              <a:buClrTx/>
              <a:buSzPct val="100000"/>
              <a:tabLst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 Placeholder 18">
            <a:extLst>
              <a:ext uri="{FF2B5EF4-FFF2-40B4-BE49-F238E27FC236}">
                <a16:creationId xmlns:a16="http://schemas.microsoft.com/office/drawing/2014/main" id="{0B68DA4D-5E70-13A0-D0DF-14C319DB301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5201" y="4487733"/>
            <a:ext cx="2680472" cy="90262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C95B93C6-ED3C-47EE-CF42-32C5A2DE4A9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94490" y="4487733"/>
            <a:ext cx="2680472" cy="90262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FE07171D-CD04-0D09-0E38-FF4521B2D4A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3779" y="4487733"/>
            <a:ext cx="2680472" cy="90262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D9E5CDBE-CF72-D343-C1D9-00779832058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335646" y="4487733"/>
            <a:ext cx="2680472" cy="90262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 cap="none" baseline="0">
                <a:solidFill>
                  <a:schemeClr val="bg1"/>
                </a:solidFill>
              </a:defRPr>
            </a:lvl1pPr>
            <a:lvl2pPr marL="25400" indent="0"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tabLst/>
              <a:defRPr sz="1400" b="0" cap="none" baseline="0">
                <a:solidFill>
                  <a:schemeClr val="bg1"/>
                </a:solidFill>
              </a:defRPr>
            </a:lvl2pPr>
            <a:lvl3pPr marL="508000" indent="-203200">
              <a:spcBef>
                <a:spcPts val="0"/>
              </a:spcBef>
              <a:buClrTx/>
              <a:buSzPct val="100000"/>
              <a:tabLst/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 Placeholder 18">
            <a:extLst>
              <a:ext uri="{FF2B5EF4-FFF2-40B4-BE49-F238E27FC236}">
                <a16:creationId xmlns:a16="http://schemas.microsoft.com/office/drawing/2014/main" id="{652DDC0A-033A-BE20-7DB9-FA526D7C4DD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65126" y="1574974"/>
            <a:ext cx="11461748" cy="6445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228600" indent="-203200">
              <a:buClrTx/>
              <a:buSzPct val="100000"/>
              <a:buFont typeface="Arial" panose="020B0604020202020204" pitchFamily="34" charset="0"/>
              <a:buChar char="•"/>
              <a:tabLst/>
              <a:defRPr sz="1800">
                <a:solidFill>
                  <a:schemeClr val="accent1"/>
                </a:solidFill>
              </a:defRPr>
            </a:lvl2pPr>
            <a:lvl3pPr marL="508000" indent="-203200">
              <a:buClrTx/>
              <a:buSzPct val="100000"/>
              <a:tabLst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71337661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64918" y="5259388"/>
            <a:ext cx="484293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 userDrawn="1"/>
        </p:nvSpPr>
        <p:spPr>
          <a:xfrm>
            <a:off x="1382184" y="887414"/>
            <a:ext cx="10479616" cy="1470025"/>
          </a:xfrm>
          <a:prstGeom prst="rect">
            <a:avLst/>
          </a:prstGeom>
        </p:spPr>
        <p:txBody>
          <a:bodyPr anchor="ctr"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fontAlgn="base">
              <a:spcAft>
                <a:spcPct val="0"/>
              </a:spcAft>
              <a:defRPr/>
            </a:pPr>
            <a:endParaRPr lang="en-US" sz="4800" b="1" i="1">
              <a:solidFill>
                <a:srgbClr val="007CC3"/>
              </a:solidFill>
              <a:cs typeface="Arial"/>
            </a:endParaRPr>
          </a:p>
        </p:txBody>
      </p:sp>
      <p:sp>
        <p:nvSpPr>
          <p:cNvPr id="5" name="TextBox 3"/>
          <p:cNvSpPr txBox="1"/>
          <p:nvPr userDrawn="1"/>
        </p:nvSpPr>
        <p:spPr>
          <a:xfrm>
            <a:off x="6623051" y="2214564"/>
            <a:ext cx="5568949" cy="41036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867" b="1" i="1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9350" y="260649"/>
            <a:ext cx="11713468" cy="2016225"/>
          </a:xfrm>
        </p:spPr>
        <p:txBody>
          <a:bodyPr anchor="b"/>
          <a:lstStyle>
            <a:lvl1pPr marL="0" indent="0" algn="r">
              <a:buNone/>
              <a:defRPr sz="4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0001" y="5562601"/>
            <a:ext cx="1440543" cy="1440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935166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20027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3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F0480007-88D5-CC08-E690-0D2A587EC2B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094DDB1-9376-22E5-801C-9ED1A1833261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l="4715" r="28273"/>
          <a:stretch/>
        </p:blipFill>
        <p:spPr>
          <a:xfrm>
            <a:off x="-1" y="503797"/>
            <a:ext cx="12191999" cy="3893204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656695F1-0166-D86D-6A54-F901CD88C10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7413" y="5699303"/>
            <a:ext cx="1760018" cy="419052"/>
          </a:xfrm>
          <a:prstGeom prst="rect">
            <a:avLst/>
          </a:prstGeom>
        </p:spPr>
      </p:pic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47057EE9-6F6B-70B9-844D-531A7068FF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2401" y="5659830"/>
            <a:ext cx="8997028" cy="276999"/>
          </a:xfrm>
        </p:spPr>
        <p:txBody>
          <a:bodyPr t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cap="none" spc="0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C0D9BE9-326A-D2D2-B3A3-4757C27FD6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401" y="4397001"/>
            <a:ext cx="8997024" cy="97446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90000"/>
              </a:lnSpc>
              <a:defRPr sz="4000" b="0" i="0" cap="none" spc="0" baseline="0">
                <a:solidFill>
                  <a:schemeClr val="accent1"/>
                </a:solidFill>
                <a:effectLst/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43173D31-9DD5-B3DF-DD04-52A78C50E7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401" y="5958654"/>
            <a:ext cx="8997028" cy="215444"/>
          </a:xfrm>
        </p:spPr>
        <p:txBody>
          <a:bodyPr t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cap="none" spc="0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85351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A13FB6-A12E-933F-8817-E76E400A88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0CCE08-5C50-76BD-D4DD-16099D6DCC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10449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A13FB6-A12E-933F-8817-E76E400A88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  <a:defRPr sz="1400" b="1" cap="all" baseline="0"/>
            </a:lvl1pPr>
            <a:lvl2pPr marL="344488" indent="-344488"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577850" indent="-203200">
              <a:buSzPct val="90000"/>
              <a:buFont typeface="System Font Regular"/>
              <a:buChar char="◦"/>
              <a:tabLst/>
              <a:defRPr sz="1600"/>
            </a:lvl3pPr>
            <a:lvl4pPr marL="750888" indent="-152400">
              <a:buFont typeface="System Font Regular"/>
              <a:buChar char="–"/>
              <a:tabLst/>
              <a:defRPr sz="1400"/>
            </a:lvl4pPr>
            <a:lvl5pPr marL="863600" indent="-101600">
              <a:buSzPct val="100000"/>
              <a:buFont typeface="Arial" panose="020B0604020202020204" pitchFamily="34" charset="0"/>
              <a:buChar char="•"/>
              <a:tabLst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0CCE08-5C50-76BD-D4DD-16099D6DCC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03824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AC7D-F0E7-EAF3-A2FA-D1BBE9988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0CCE08-5C50-76BD-D4DD-16099D6DCC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5B9DC50-0441-E746-AF06-711F2EE7406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65126" y="2109191"/>
            <a:ext cx="3398403" cy="3887242"/>
          </a:xfrm>
        </p:spPr>
        <p:txBody>
          <a:bodyPr/>
          <a:lstStyle>
            <a:lvl1pPr marL="177800" indent="-1778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b="0" cap="none" baseline="0">
                <a:latin typeface="+mn-lt"/>
              </a:defRPr>
            </a:lvl1pPr>
            <a:lvl2pPr marL="342900" indent="-165100">
              <a:spcBef>
                <a:spcPts val="400"/>
              </a:spcBef>
              <a:buClr>
                <a:schemeClr val="tx1"/>
              </a:buClr>
              <a:buSzPct val="100000"/>
              <a:buFont typeface="System Font Regular"/>
              <a:buChar char="–"/>
              <a:tabLst/>
              <a:defRPr sz="1400">
                <a:latin typeface="+mn-lt"/>
              </a:defRPr>
            </a:lvl2pPr>
            <a:lvl3pPr marL="461963" indent="-142875"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400">
                <a:latin typeface="+mn-lt"/>
              </a:defRPr>
            </a:lvl3pPr>
            <a:lvl4pPr marL="520700" indent="-141288">
              <a:buClr>
                <a:schemeClr val="tx1"/>
              </a:buClr>
              <a:buFont typeface="System Font Regular"/>
              <a:buChar char="–"/>
              <a:tabLst/>
              <a:defRPr sz="1200">
                <a:latin typeface="+mn-lt"/>
              </a:defRPr>
            </a:lvl4pPr>
            <a:lvl5pPr marL="628650" indent="-952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1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A99F829-0914-F61A-4981-09F735503B7B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396798" y="2109191"/>
            <a:ext cx="3398403" cy="3887242"/>
          </a:xfrm>
        </p:spPr>
        <p:txBody>
          <a:bodyPr/>
          <a:lstStyle>
            <a:lvl1pPr marL="177800" indent="-1778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b="0" cap="none" baseline="0">
                <a:latin typeface="+mn-lt"/>
              </a:defRPr>
            </a:lvl1pPr>
            <a:lvl2pPr marL="342900" indent="-165100">
              <a:spcBef>
                <a:spcPts val="400"/>
              </a:spcBef>
              <a:buClr>
                <a:schemeClr val="tx1"/>
              </a:buClr>
              <a:buSzPct val="100000"/>
              <a:buFont typeface="System Font Regular"/>
              <a:buChar char="–"/>
              <a:tabLst/>
              <a:defRPr sz="1400">
                <a:latin typeface="+mn-lt"/>
              </a:defRPr>
            </a:lvl2pPr>
            <a:lvl3pPr marL="461963" indent="-142875"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400">
                <a:latin typeface="+mn-lt"/>
              </a:defRPr>
            </a:lvl3pPr>
            <a:lvl4pPr marL="520700" indent="-141288">
              <a:buClr>
                <a:schemeClr val="tx1"/>
              </a:buClr>
              <a:buFont typeface="System Font Regular"/>
              <a:buChar char="–"/>
              <a:tabLst/>
              <a:defRPr sz="1200">
                <a:latin typeface="+mn-lt"/>
              </a:defRPr>
            </a:lvl4pPr>
            <a:lvl5pPr marL="628650" indent="-952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1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92BE9F-E12A-7C73-2E4C-493C9E4C234E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428471" y="2109191"/>
            <a:ext cx="3398403" cy="3887242"/>
          </a:xfrm>
        </p:spPr>
        <p:txBody>
          <a:bodyPr/>
          <a:lstStyle>
            <a:lvl1pPr marL="177800" indent="-1778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b="0" cap="none" baseline="0">
                <a:latin typeface="+mn-lt"/>
              </a:defRPr>
            </a:lvl1pPr>
            <a:lvl2pPr marL="342900" indent="-165100">
              <a:spcBef>
                <a:spcPts val="400"/>
              </a:spcBef>
              <a:buClr>
                <a:schemeClr val="tx1"/>
              </a:buClr>
              <a:buSzPct val="100000"/>
              <a:buFont typeface="System Font Regular"/>
              <a:buChar char="–"/>
              <a:tabLst/>
              <a:defRPr sz="1400">
                <a:latin typeface="+mn-lt"/>
              </a:defRPr>
            </a:lvl2pPr>
            <a:lvl3pPr marL="461963" indent="-142875"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400">
                <a:latin typeface="+mn-lt"/>
              </a:defRPr>
            </a:lvl3pPr>
            <a:lvl4pPr marL="520700" indent="-141288">
              <a:buClr>
                <a:schemeClr val="tx1"/>
              </a:buClr>
              <a:buFont typeface="System Font Regular"/>
              <a:buChar char="–"/>
              <a:tabLst/>
              <a:defRPr sz="1200">
                <a:latin typeface="+mn-lt"/>
              </a:defRPr>
            </a:lvl4pPr>
            <a:lvl5pPr marL="628650" indent="-952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1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7EC0B4D-20D7-2793-5342-1B40958451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5286" y="1311480"/>
            <a:ext cx="3398403" cy="626036"/>
          </a:xfrm>
          <a:gradFill>
            <a:gsLst>
              <a:gs pos="96000">
                <a:schemeClr val="bg1"/>
              </a:gs>
              <a:gs pos="97000">
                <a:schemeClr val="accent1"/>
              </a:gs>
            </a:gsLst>
            <a:lin ang="5400000" scaled="0"/>
          </a:gradFill>
        </p:spPr>
        <p:txBody>
          <a:bodyPr bIns="73152"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EA6DAD3C-F47B-4908-A3FF-21D4F117D8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79728" y="1311480"/>
            <a:ext cx="3398403" cy="626036"/>
          </a:xfrm>
          <a:gradFill>
            <a:gsLst>
              <a:gs pos="96000">
                <a:schemeClr val="bg1"/>
              </a:gs>
              <a:gs pos="97000">
                <a:schemeClr val="accent1"/>
              </a:gs>
            </a:gsLst>
            <a:lin ang="5400000" scaled="0"/>
          </a:gradFill>
        </p:spPr>
        <p:txBody>
          <a:bodyPr bIns="73152"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C37B60E2-92F2-4836-A37D-B8B9937C309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4170" y="1311480"/>
            <a:ext cx="3398403" cy="626036"/>
          </a:xfrm>
          <a:gradFill>
            <a:gsLst>
              <a:gs pos="96000">
                <a:schemeClr val="bg1"/>
              </a:gs>
              <a:gs pos="97000">
                <a:schemeClr val="accent1"/>
              </a:gs>
            </a:gsLst>
            <a:lin ang="5400000" scaled="0"/>
          </a:gradFill>
        </p:spPr>
        <p:txBody>
          <a:bodyPr bIns="73152"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288400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2.sv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0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7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388CFEB-8ABF-E38B-B52D-F4183A0EA5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409119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7" imgW="404" imgH="405" progId="TCLayout.ActiveDocument.1">
                  <p:embed/>
                </p:oleObj>
              </mc:Choice>
              <mc:Fallback>
                <p:oleObj name="think-cell Slide" r:id="rId57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88CFEB-8ABF-E38B-B52D-F4183A0EA5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CD0E37A5-329C-6B42-A03C-2BAEC2052D29}"/>
              </a:ext>
            </a:extLst>
          </p:cNvPr>
          <p:cNvSpPr>
            <a:spLocks noGrp="1" noChangeArrowheads="1"/>
          </p:cNvSpPr>
          <p:nvPr/>
        </p:nvSpPr>
        <p:spPr bwMode="gray">
          <a:xfrm>
            <a:off x="365126" y="6526079"/>
            <a:ext cx="409575" cy="2083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defTabSz="775867" eaLnBrk="1" hangingPunct="1">
              <a:defRPr/>
            </a:pPr>
            <a:fld id="{3DBC93D6-C358-9648-9CB7-FB101C9037AB}" type="slidenum">
              <a:rPr lang="en-US" sz="800" b="0">
                <a:solidFill>
                  <a:schemeClr val="tx1"/>
                </a:solidFill>
                <a:latin typeface="Century Gothic" panose="020B0502020202020204" pitchFamily="34" charset="0"/>
              </a:rPr>
              <a:pPr algn="l" defTabSz="775867" eaLnBrk="1" hangingPunct="1"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9DFE426-7321-534C-8485-5B1BB1E2CD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6" y="1574800"/>
            <a:ext cx="11461748" cy="41374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B2BC6372-ED2A-7044-A75D-F358185E43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01168"/>
            <a:ext cx="11461748" cy="78005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EF68FE0-EE9F-E934-8F3D-7FD1120CA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5286" y="5996432"/>
            <a:ext cx="8741660" cy="49377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marL="0" indent="0" algn="l">
              <a:spcBef>
                <a:spcPts val="300"/>
              </a:spcBef>
              <a:tabLst/>
              <a:defRPr sz="900" b="0" i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6259443-AE91-5C13-BF0B-71A6225A22A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10439644" y="6380480"/>
            <a:ext cx="1495258" cy="35601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58" r:id="rId2"/>
    <p:sldLayoutId id="2147483778" r:id="rId3"/>
    <p:sldLayoutId id="2147483777" r:id="rId4"/>
    <p:sldLayoutId id="2147483925" r:id="rId5"/>
    <p:sldLayoutId id="2147483849" r:id="rId6"/>
    <p:sldLayoutId id="2147483937" r:id="rId7"/>
    <p:sldLayoutId id="2147483947" r:id="rId8"/>
    <p:sldLayoutId id="2147483952" r:id="rId9"/>
    <p:sldLayoutId id="2147483953" r:id="rId10"/>
    <p:sldLayoutId id="2147483954" r:id="rId11"/>
    <p:sldLayoutId id="2147483941" r:id="rId12"/>
    <p:sldLayoutId id="2147483950" r:id="rId13"/>
    <p:sldLayoutId id="2147483848" r:id="rId14"/>
    <p:sldLayoutId id="2147483967" r:id="rId15"/>
    <p:sldLayoutId id="2147483949" r:id="rId16"/>
    <p:sldLayoutId id="2147483840" r:id="rId17"/>
    <p:sldLayoutId id="2147483841" r:id="rId18"/>
    <p:sldLayoutId id="2147483844" r:id="rId19"/>
    <p:sldLayoutId id="2147483930" r:id="rId20"/>
    <p:sldLayoutId id="2147483968" r:id="rId21"/>
    <p:sldLayoutId id="2147483931" r:id="rId22"/>
    <p:sldLayoutId id="2147483817" r:id="rId23"/>
    <p:sldLayoutId id="2147483926" r:id="rId24"/>
    <p:sldLayoutId id="2147483927" r:id="rId25"/>
    <p:sldLayoutId id="2147483852" r:id="rId26"/>
    <p:sldLayoutId id="2147483842" r:id="rId27"/>
    <p:sldLayoutId id="2147483955" r:id="rId28"/>
    <p:sldLayoutId id="2147483956" r:id="rId29"/>
    <p:sldLayoutId id="2147483957" r:id="rId30"/>
    <p:sldLayoutId id="2147483958" r:id="rId31"/>
    <p:sldLayoutId id="2147483959" r:id="rId32"/>
    <p:sldLayoutId id="2147483960" r:id="rId33"/>
    <p:sldLayoutId id="2147483961" r:id="rId34"/>
    <p:sldLayoutId id="2147483962" r:id="rId35"/>
    <p:sldLayoutId id="2147483963" r:id="rId36"/>
    <p:sldLayoutId id="2147483964" r:id="rId37"/>
    <p:sldLayoutId id="2147483965" r:id="rId38"/>
    <p:sldLayoutId id="2147483966" r:id="rId39"/>
    <p:sldLayoutId id="2147483969" r:id="rId40"/>
    <p:sldLayoutId id="2147483974" r:id="rId41"/>
    <p:sldLayoutId id="2147483975" r:id="rId42"/>
    <p:sldLayoutId id="2147483970" r:id="rId43"/>
    <p:sldLayoutId id="2147483971" r:id="rId44"/>
    <p:sldLayoutId id="2147483972" r:id="rId45"/>
    <p:sldLayoutId id="2147483973" r:id="rId46"/>
    <p:sldLayoutId id="2147483984" r:id="rId47"/>
    <p:sldLayoutId id="2147483976" r:id="rId48"/>
    <p:sldLayoutId id="2147483979" r:id="rId49"/>
    <p:sldLayoutId id="2147483978" r:id="rId50"/>
    <p:sldLayoutId id="2147483980" r:id="rId51"/>
    <p:sldLayoutId id="2147483977" r:id="rId52"/>
    <p:sldLayoutId id="2147483981" r:id="rId53"/>
    <p:sldLayoutId id="2147483985" r:id="rId54"/>
  </p:sldLayoutIdLst>
  <p:transition>
    <p:fade/>
  </p:transition>
  <p:hf hdr="0" ftr="0" dt="0"/>
  <p:txStyles>
    <p:titleStyle>
      <a:lvl1pPr algn="l" defTabSz="379337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800" b="1" i="0" kern="1200" cap="none">
          <a:solidFill>
            <a:schemeClr val="accent1"/>
          </a:solidFill>
          <a:latin typeface="Century Gothic" panose="020B0502020202020204" pitchFamily="34" charset="0"/>
          <a:ea typeface="+mj-ea"/>
          <a:cs typeface="+mj-cs"/>
        </a:defRPr>
      </a:lvl1pPr>
      <a:lvl2pPr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2pPr>
      <a:lvl3pPr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3pPr>
      <a:lvl4pPr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4pPr>
      <a:lvl5pPr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5pPr>
      <a:lvl6pPr marL="457109"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6pPr>
      <a:lvl7pPr marL="914217"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7pPr>
      <a:lvl8pPr marL="1371326"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8pPr>
      <a:lvl9pPr marL="1828434"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9pPr>
    </p:titleStyle>
    <p:bodyStyle>
      <a:lvl1pPr marL="365125" indent="-365125" algn="l" defTabSz="379337" rtl="0" eaLnBrk="1" fontAlgn="base" hangingPunct="1">
        <a:lnSpc>
          <a:spcPct val="100000"/>
        </a:lnSpc>
        <a:spcBef>
          <a:spcPts val="100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•"/>
        <a:tabLst/>
        <a:defRPr sz="1800" b="0" kern="1200" spc="10" baseline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577850" indent="-203200" algn="l" defTabSz="379337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◦"/>
        <a:tabLst/>
        <a:defRPr sz="1600" b="0" kern="1200" spc="10" baseline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801688" indent="-203200" algn="l" defTabSz="379337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–"/>
        <a:tabLst/>
        <a:defRPr sz="1400" b="0" kern="1200" spc="10" baseline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974725" indent="-152400" algn="l" defTabSz="379337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sz="1200" b="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1085850" indent="-111125" algn="l" defTabSz="379337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80000"/>
        <a:buFont typeface="Courier New" panose="02070309020205020404" pitchFamily="49" charset="0"/>
        <a:buChar char="o"/>
        <a:tabLst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952121" indent="0" algn="l" defTabSz="380848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None/>
        <a:defRPr sz="751" kern="1200">
          <a:solidFill>
            <a:schemeClr val="tx1"/>
          </a:solidFill>
          <a:latin typeface="+mn-lt"/>
          <a:ea typeface="+mn-ea"/>
          <a:cs typeface="+mn-cs"/>
        </a:defRPr>
      </a:lvl6pPr>
      <a:lvl7pPr marL="1237756" indent="-95213" algn="l" defTabSz="380848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Char char="•"/>
        <a:defRPr sz="751" kern="1200">
          <a:solidFill>
            <a:schemeClr val="tx1"/>
          </a:solidFill>
          <a:latin typeface="+mn-lt"/>
          <a:ea typeface="+mn-ea"/>
          <a:cs typeface="+mn-cs"/>
        </a:defRPr>
      </a:lvl7pPr>
      <a:lvl8pPr marL="1428181" indent="-95213" algn="l" defTabSz="380848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Char char="•"/>
        <a:defRPr sz="751" kern="1200">
          <a:solidFill>
            <a:schemeClr val="tx1"/>
          </a:solidFill>
          <a:latin typeface="+mn-lt"/>
          <a:ea typeface="+mn-ea"/>
          <a:cs typeface="+mn-cs"/>
        </a:defRPr>
      </a:lvl8pPr>
      <a:lvl9pPr marL="1618605" indent="-95213" algn="l" defTabSz="380848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Char char="•"/>
        <a:defRPr sz="7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8084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90424" algn="l" defTabSz="3808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80848" algn="l" defTabSz="3808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71272" algn="l" defTabSz="3808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61697" algn="l" defTabSz="3808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52121" algn="l" defTabSz="3808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142544" algn="l" defTabSz="3808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332968" algn="l" defTabSz="3808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523392" algn="l" defTabSz="3808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" userDrawn="1">
          <p15:clr>
            <a:srgbClr val="5ACBF0"/>
          </p15:clr>
        </p15:guide>
        <p15:guide id="2" pos="1260" userDrawn="1">
          <p15:clr>
            <a:srgbClr val="F26B43"/>
          </p15:clr>
        </p15:guide>
        <p15:guide id="3" orient="horz" pos="1770" userDrawn="1">
          <p15:clr>
            <a:srgbClr val="F26B43"/>
          </p15:clr>
        </p15:guide>
        <p15:guide id="4" orient="horz" pos="473" userDrawn="1">
          <p15:clr>
            <a:srgbClr val="F26B43"/>
          </p15:clr>
        </p15:guide>
        <p15:guide id="5" orient="horz" pos="1252" userDrawn="1">
          <p15:clr>
            <a:srgbClr val="F26B43"/>
          </p15:clr>
        </p15:guide>
        <p15:guide id="6" orient="horz" pos="2548" userDrawn="1">
          <p15:clr>
            <a:srgbClr val="F26B43"/>
          </p15:clr>
        </p15:guide>
        <p15:guide id="7" orient="horz" pos="3066" userDrawn="1">
          <p15:clr>
            <a:srgbClr val="F26B43"/>
          </p15:clr>
        </p15:guide>
        <p15:guide id="8" orient="horz" pos="3844" userDrawn="1">
          <p15:clr>
            <a:srgbClr val="F26B43"/>
          </p15:clr>
        </p15:guide>
        <p15:guide id="9" orient="horz" pos="1510" userDrawn="1">
          <p15:clr>
            <a:srgbClr val="5ACBF0"/>
          </p15:clr>
        </p15:guide>
        <p15:guide id="10" orient="horz" pos="2808" userDrawn="1">
          <p15:clr>
            <a:srgbClr val="5ACBF0"/>
          </p15:clr>
        </p15:guide>
        <p15:guide id="11" orient="horz" pos="4104" userDrawn="1">
          <p15:clr>
            <a:srgbClr val="5ACBF0"/>
          </p15:clr>
        </p15:guide>
        <p15:guide id="12" pos="228" userDrawn="1">
          <p15:clr>
            <a:srgbClr val="5ACBF0"/>
          </p15:clr>
        </p15:guide>
        <p15:guide id="13" pos="2034" userDrawn="1">
          <p15:clr>
            <a:srgbClr val="F26B43"/>
          </p15:clr>
        </p15:guide>
        <p15:guide id="14" pos="2568" userDrawn="1">
          <p15:clr>
            <a:srgbClr val="F26B43"/>
          </p15:clr>
        </p15:guide>
        <p15:guide id="15" pos="3322" userDrawn="1">
          <p15:clr>
            <a:srgbClr val="F26B43"/>
          </p15:clr>
        </p15:guide>
        <p15:guide id="16" pos="3838" userDrawn="1">
          <p15:clr>
            <a:srgbClr val="F26B43"/>
          </p15:clr>
        </p15:guide>
        <p15:guide id="17" pos="4612" userDrawn="1">
          <p15:clr>
            <a:srgbClr val="F26B43"/>
          </p15:clr>
        </p15:guide>
        <p15:guide id="18" pos="5128" userDrawn="1">
          <p15:clr>
            <a:srgbClr val="F26B43"/>
          </p15:clr>
        </p15:guide>
        <p15:guide id="19" pos="5902" userDrawn="1">
          <p15:clr>
            <a:srgbClr val="F26B43"/>
          </p15:clr>
        </p15:guide>
        <p15:guide id="20" pos="6418" userDrawn="1">
          <p15:clr>
            <a:srgbClr val="F26B43"/>
          </p15:clr>
        </p15:guide>
        <p15:guide id="21" pos="7192" userDrawn="1">
          <p15:clr>
            <a:srgbClr val="F26B43"/>
          </p15:clr>
        </p15:guide>
        <p15:guide id="22" pos="744" userDrawn="1">
          <p15:clr>
            <a:srgbClr val="F26B43"/>
          </p15:clr>
        </p15:guide>
        <p15:guide id="23" pos="2292" userDrawn="1">
          <p15:clr>
            <a:srgbClr val="5ACBF0"/>
          </p15:clr>
        </p15:guide>
        <p15:guide id="24" pos="1002" userDrawn="1">
          <p15:clr>
            <a:srgbClr val="5ACBF0"/>
          </p15:clr>
        </p15:guide>
        <p15:guide id="25" pos="3582" userDrawn="1">
          <p15:clr>
            <a:srgbClr val="5ACBF0"/>
          </p15:clr>
        </p15:guide>
        <p15:guide id="26" pos="4870" userDrawn="1">
          <p15:clr>
            <a:srgbClr val="5ACBF0"/>
          </p15:clr>
        </p15:guide>
        <p15:guide id="27" pos="6160" userDrawn="1">
          <p15:clr>
            <a:srgbClr val="5ACBF0"/>
          </p15:clr>
        </p15:guide>
        <p15:guide id="28" pos="7440" userDrawn="1">
          <p15:clr>
            <a:srgbClr val="5ACBF0"/>
          </p15:clr>
        </p15:guide>
        <p15:guide id="29" pos="486" userDrawn="1">
          <p15:clr>
            <a:srgbClr val="A4A3A4"/>
          </p15:clr>
        </p15:guide>
        <p15:guide id="30" pos="1518" userDrawn="1">
          <p15:clr>
            <a:srgbClr val="A4A3A4"/>
          </p15:clr>
        </p15:guide>
        <p15:guide id="31" pos="1776" userDrawn="1">
          <p15:clr>
            <a:srgbClr val="A4A3A4"/>
          </p15:clr>
        </p15:guide>
        <p15:guide id="32" pos="2808" userDrawn="1">
          <p15:clr>
            <a:srgbClr val="A4A3A4"/>
          </p15:clr>
        </p15:guide>
        <p15:guide id="33" pos="3066" userDrawn="1">
          <p15:clr>
            <a:srgbClr val="A4A3A4"/>
          </p15:clr>
        </p15:guide>
        <p15:guide id="34" pos="4096" userDrawn="1">
          <p15:clr>
            <a:srgbClr val="A4A3A4"/>
          </p15:clr>
        </p15:guide>
        <p15:guide id="35" pos="4368" userDrawn="1">
          <p15:clr>
            <a:srgbClr val="A4A3A4"/>
          </p15:clr>
        </p15:guide>
        <p15:guide id="36" pos="5386" userDrawn="1">
          <p15:clr>
            <a:srgbClr val="A4A3A4"/>
          </p15:clr>
        </p15:guide>
        <p15:guide id="37" pos="5644" userDrawn="1">
          <p15:clr>
            <a:srgbClr val="A4A3A4"/>
          </p15:clr>
        </p15:guide>
        <p15:guide id="38" pos="6676" userDrawn="1">
          <p15:clr>
            <a:srgbClr val="A4A3A4"/>
          </p15:clr>
        </p15:guide>
        <p15:guide id="39" pos="6934" userDrawn="1">
          <p15:clr>
            <a:srgbClr val="A4A3A4"/>
          </p15:clr>
        </p15:guide>
        <p15:guide id="40" orient="horz" pos="744" userDrawn="1">
          <p15:clr>
            <a:srgbClr val="A4A3A4"/>
          </p15:clr>
        </p15:guide>
        <p15:guide id="41" orient="horz" pos="992" userDrawn="1">
          <p15:clr>
            <a:srgbClr val="A4A3A4"/>
          </p15:clr>
        </p15:guide>
        <p15:guide id="42" orient="horz" pos="2030" userDrawn="1">
          <p15:clr>
            <a:srgbClr val="A4A3A4"/>
          </p15:clr>
        </p15:guide>
        <p15:guide id="43" orient="horz" pos="2288" userDrawn="1">
          <p15:clr>
            <a:srgbClr val="A4A3A4"/>
          </p15:clr>
        </p15:guide>
        <p15:guide id="44" orient="horz" pos="3326" userDrawn="1">
          <p15:clr>
            <a:srgbClr val="A4A3A4"/>
          </p15:clr>
        </p15:guide>
        <p15:guide id="45" orient="horz" pos="3584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48000">
              <a:srgbClr val="00BCE4"/>
            </a:gs>
            <a:gs pos="82000">
              <a:srgbClr val="0063C3"/>
            </a:gs>
          </a:gsLst>
          <a:lin ang="27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BE44CEC-CCAB-5561-8E67-7B0E593303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50856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E44CEC-CCAB-5561-8E67-7B0E593303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 5">
            <a:extLst>
              <a:ext uri="{FF2B5EF4-FFF2-40B4-BE49-F238E27FC236}">
                <a16:creationId xmlns:a16="http://schemas.microsoft.com/office/drawing/2014/main" id="{09BAB336-3537-B4B8-6115-99B8EAD0EBF7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67450" r="17"/>
          <a:stretch/>
        </p:blipFill>
        <p:spPr>
          <a:xfrm>
            <a:off x="-6096" y="5452413"/>
            <a:ext cx="7164224" cy="1262331"/>
          </a:xfrm>
          <a:prstGeom prst="rect">
            <a:avLst/>
          </a:prstGeom>
        </p:spPr>
      </p:pic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/>
              <a:t>Click to edit Master title style</a:t>
            </a:r>
            <a:endParaRPr lang="de-DE" altLang="de-DE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0D5AB4-0FAB-E0D7-CF1A-DF2B1811701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8400" y="5867400"/>
            <a:ext cx="185060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603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b="1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b="1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b="1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b="1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b="1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00">
          <p15:clr>
            <a:srgbClr val="F26B43"/>
          </p15:clr>
        </p15:guide>
        <p15:guide id="2" pos="2880">
          <p15:clr>
            <a:srgbClr val="F26B43"/>
          </p15:clr>
        </p15:guide>
        <p15:guide id="3" pos="2496">
          <p15:clr>
            <a:srgbClr val="F26B43"/>
          </p15:clr>
        </p15:guide>
        <p15:guide id="4" pos="4992">
          <p15:clr>
            <a:srgbClr val="F26B43"/>
          </p15:clr>
        </p15:guide>
        <p15:guide id="5" orient="horz" pos="42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.xml"/><Relationship Id="rId7" Type="http://schemas.openxmlformats.org/officeDocument/2006/relationships/oleObject" Target="../embeddings/oleObject3.bin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2.pn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31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32.pn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5" Type="http://schemas.openxmlformats.org/officeDocument/2006/relationships/image" Target="../media/image33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5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2192B73-5B6D-DAEA-6275-79B973A462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3D </a:t>
            </a:r>
            <a:r>
              <a:rPr lang="en-US" err="1"/>
              <a:t>Präsentation</a:t>
            </a:r>
            <a:endParaRPr lang="en-US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EBB8EA42-CD00-BEEF-8FC1-5ECA4138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err="1"/>
              <a:t>Tarlatamab</a:t>
            </a:r>
            <a:r>
              <a:rPr lang="de-AT"/>
              <a:t> Wirkmechanismus</a:t>
            </a:r>
            <a:endParaRPr lang="en-US"/>
          </a:p>
        </p:txBody>
      </p:sp>
      <p:pic>
        <p:nvPicPr>
          <p:cNvPr id="5" name="Bildplatzhalter 4">
            <a:extLst>
              <a:ext uri="{FF2B5EF4-FFF2-40B4-BE49-F238E27FC236}">
                <a16:creationId xmlns:a16="http://schemas.microsoft.com/office/drawing/2014/main" id="{47C96F30-3C48-2A53-4D10-3B1475711FF2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3000"/>
                    </a14:imgEffect>
                    <a14:imgEffect>
                      <a14:colorTemperature colorTemp="6641"/>
                    </a14:imgEffect>
                    <a14:imgEffect>
                      <a14:saturation sat="104000"/>
                    </a14:imgEffect>
                    <a14:imgEffect>
                      <a14:brightnessContrast bright="11000" contrast="-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084" t="30435" r="2046" b="26515"/>
          <a:stretch>
            <a:fillRect/>
          </a:stretch>
        </p:blipFill>
        <p:spPr>
          <a:xfrm>
            <a:off x="0" y="329631"/>
            <a:ext cx="12192000" cy="3285067"/>
          </a:xfrm>
          <a:custGeom>
            <a:avLst/>
            <a:gdLst>
              <a:gd name="connsiteX0" fmla="*/ 2021205 w 12192000"/>
              <a:gd name="connsiteY0" fmla="*/ 40 h 3285067"/>
              <a:gd name="connsiteX1" fmla="*/ 12192000 w 12192000"/>
              <a:gd name="connsiteY1" fmla="*/ 40 h 3285067"/>
              <a:gd name="connsiteX2" fmla="*/ 12192000 w 12192000"/>
              <a:gd name="connsiteY2" fmla="*/ 3285067 h 3285067"/>
              <a:gd name="connsiteX3" fmla="*/ 0 w 12192000"/>
              <a:gd name="connsiteY3" fmla="*/ 3285067 h 3285067"/>
              <a:gd name="connsiteX4" fmla="*/ 0 w 12192000"/>
              <a:gd name="connsiteY4" fmla="*/ 1506224 h 3285067"/>
              <a:gd name="connsiteX5" fmla="*/ 847090 w 12192000"/>
              <a:gd name="connsiteY5" fmla="*/ 409722 h 3285067"/>
              <a:gd name="connsiteX6" fmla="*/ 2021205 w 12192000"/>
              <a:gd name="connsiteY6" fmla="*/ 40 h 3285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285067">
                <a:moveTo>
                  <a:pt x="2021205" y="40"/>
                </a:moveTo>
                <a:lnTo>
                  <a:pt x="12192000" y="40"/>
                </a:lnTo>
                <a:lnTo>
                  <a:pt x="12192000" y="3285067"/>
                </a:lnTo>
                <a:lnTo>
                  <a:pt x="0" y="3285067"/>
                </a:lnTo>
                <a:lnTo>
                  <a:pt x="0" y="1506224"/>
                </a:lnTo>
                <a:cubicBezTo>
                  <a:pt x="203835" y="1107957"/>
                  <a:pt x="462280" y="699543"/>
                  <a:pt x="847090" y="409722"/>
                </a:cubicBezTo>
                <a:cubicBezTo>
                  <a:pt x="1038225" y="266397"/>
                  <a:pt x="1391920" y="-3765"/>
                  <a:pt x="2021205" y="40"/>
                </a:cubicBezTo>
                <a:close/>
              </a:path>
            </a:pathLst>
          </a:custGeom>
          <a:solidFill>
            <a:srgbClr val="605D75">
              <a:lumMod val="20000"/>
              <a:lumOff val="80000"/>
            </a:srgbClr>
          </a:solidFill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9C071BC-AE45-3FD3-D5C2-FA6AF7856F94}"/>
              </a:ext>
            </a:extLst>
          </p:cNvPr>
          <p:cNvSpPr txBox="1"/>
          <p:nvPr/>
        </p:nvSpPr>
        <p:spPr>
          <a:xfrm>
            <a:off x="269631" y="6343703"/>
            <a:ext cx="6096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AT" sz="1100" b="0" i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SC-AT-AMG 757-00135 0426</a:t>
            </a:r>
            <a:endParaRPr lang="de-AT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7133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239350" y="2348882"/>
            <a:ext cx="11713468" cy="2016225"/>
          </a:xfrm>
        </p:spPr>
        <p:txBody>
          <a:bodyPr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2667">
                <a:solidFill>
                  <a:schemeClr val="tx1"/>
                </a:solidFill>
              </a:rPr>
              <a:t>Diese Präsentation ist urheberechtlich geschützt durch </a:t>
            </a:r>
            <a:r>
              <a:rPr lang="de-DE" sz="2667" err="1">
                <a:solidFill>
                  <a:schemeClr val="tx1"/>
                </a:solidFill>
              </a:rPr>
              <a:t>Amgen</a:t>
            </a:r>
            <a:r>
              <a:rPr lang="de-DE" sz="2667">
                <a:solidFill>
                  <a:schemeClr val="tx1"/>
                </a:solidFill>
              </a:rPr>
              <a:t> GmbH. Amgen GmbH stellt dieses Präsentationsmaterial für Angehörige des medizinischen Fachkreises mit Zugang zur Amgen-Oncology.at-Webseite zur Verfügung. Es dient ausschließlich zur eigenen Verwendung und darf nicht an Dritte weitergeleitet werden. Es dürfen keine inhaltlichen Änderungen vorgenommen werden.</a:t>
            </a:r>
          </a:p>
        </p:txBody>
      </p:sp>
    </p:spTree>
    <p:extLst>
      <p:ext uri="{BB962C8B-B14F-4D97-AF65-F5344CB8AC3E}">
        <p14:creationId xmlns:p14="http://schemas.microsoft.com/office/powerpoint/2010/main" val="3600719146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22FFD1-CEC7-5D0A-C75D-14E3292E83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2_1">
            <a:hlinkClick r:id="" action="ppaction://media"/>
            <a:extLst>
              <a:ext uri="{FF2B5EF4-FFF2-40B4-BE49-F238E27FC236}">
                <a16:creationId xmlns:a16="http://schemas.microsoft.com/office/drawing/2014/main" id="{FF431C9F-28CF-7A49-DC75-865A91A845E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0"/>
            <a:ext cx="12192000" cy="6901132"/>
          </a:xfrm>
          <a:prstGeom prst="rect">
            <a:avLst/>
          </a:prstGeom>
        </p:spPr>
      </p:pic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CF67ACA-BEAB-CCCE-9E1A-885525E9635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39779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4" imgH="405" progId="TCLayout.ActiveDocument.1">
                  <p:embed/>
                </p:oleObj>
              </mc:Choice>
              <mc:Fallback>
                <p:oleObj name="think-cell Slide" r:id="rId7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F67ACA-BEAB-CCCE-9E1A-885525E96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BEDEF5C-1844-9C84-F40E-CE6D46C3CD09}"/>
              </a:ext>
            </a:extLst>
          </p:cNvPr>
          <p:cNvSpPr txBox="1">
            <a:spLocks/>
          </p:cNvSpPr>
          <p:nvPr/>
        </p:nvSpPr>
        <p:spPr>
          <a:xfrm>
            <a:off x="365126" y="1181100"/>
            <a:ext cx="5727699" cy="78005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65125" indent="-365125" algn="l" defTabSz="379337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577850" indent="-2032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System Font Regular"/>
              <a:buChar char="◦"/>
              <a:tabLst/>
              <a:defRPr sz="16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1688" indent="-2032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System Font Regular"/>
              <a:buChar char="–"/>
              <a:tabLst/>
              <a:defRPr sz="14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974725" indent="-1524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085850" indent="-111125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Courier New" panose="02070309020205020404" pitchFamily="49" charset="0"/>
              <a:buChar char="o"/>
              <a:tabLst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2121" indent="0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None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7756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8181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605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>
                <a:latin typeface="Century Gothic"/>
              </a:rPr>
              <a:t>Die BiTE</a:t>
            </a:r>
            <a:r>
              <a:rPr lang="de-DE" baseline="30000">
                <a:latin typeface="Century Gothic"/>
              </a:rPr>
              <a:t>®</a:t>
            </a:r>
            <a:r>
              <a:rPr lang="de-DE">
                <a:latin typeface="Century Gothic"/>
              </a:rPr>
              <a:t> („bispezifische T‑Zell‑</a:t>
            </a:r>
            <a:r>
              <a:rPr lang="de-DE" err="1">
                <a:latin typeface="Century Gothic"/>
              </a:rPr>
              <a:t>Engager</a:t>
            </a:r>
            <a:r>
              <a:rPr lang="de-DE">
                <a:latin typeface="Century Gothic"/>
              </a:rPr>
              <a:t>“) Plattform wurde von der Amgen‑Forschung in Deutschland entwickelt.</a:t>
            </a:r>
            <a:r>
              <a:rPr lang="de-DE" sz="1200" baseline="30000">
                <a:latin typeface="Century Gothic"/>
              </a:rPr>
              <a:t>1</a:t>
            </a:r>
            <a:r>
              <a:rPr lang="de-DE">
                <a:latin typeface="Century Gothic"/>
              </a:rPr>
              <a:t> </a:t>
            </a:r>
            <a:endParaRPr lang="de-DE" b="0" i="0">
              <a:effectLst/>
              <a:latin typeface="Century Gothic"/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59A82CDD-070A-3751-3481-6326174D6A77}"/>
              </a:ext>
            </a:extLst>
          </p:cNvPr>
          <p:cNvGrpSpPr/>
          <p:nvPr/>
        </p:nvGrpSpPr>
        <p:grpSpPr>
          <a:xfrm>
            <a:off x="361950" y="2390772"/>
            <a:ext cx="5734050" cy="831852"/>
            <a:chOff x="361950" y="1981199"/>
            <a:chExt cx="5572388" cy="831852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C95B8071-7CBC-8A98-FE91-312B3316E703}"/>
                </a:ext>
              </a:extLst>
            </p:cNvPr>
            <p:cNvSpPr/>
            <p:nvPr/>
          </p:nvSpPr>
          <p:spPr>
            <a:xfrm>
              <a:off x="361950" y="1987551"/>
              <a:ext cx="5569212" cy="825500"/>
            </a:xfrm>
            <a:prstGeom prst="rect">
              <a:avLst/>
            </a:pr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wrap="square" tIns="91440" bIns="91440" rtlCol="0" anchor="ctr">
              <a:spAutoFit/>
            </a:bodyPr>
            <a:lstStyle/>
            <a:p>
              <a:pPr algn="l">
                <a:spcBef>
                  <a:spcPts val="0"/>
                </a:spcBef>
              </a:pPr>
              <a:endParaRPr lang="de-DE" sz="1400">
                <a:latin typeface="+mn-lt"/>
              </a:endParaRPr>
            </a:p>
          </p:txBody>
        </p:sp>
        <p:sp>
          <p:nvSpPr>
            <p:cNvPr id="6" name="Content Placeholder 2">
              <a:extLst>
                <a:ext uri="{FF2B5EF4-FFF2-40B4-BE49-F238E27FC236}">
                  <a16:creationId xmlns:a16="http://schemas.microsoft.com/office/drawing/2014/main" id="{18D05B90-04B0-DF63-E6BF-C2BCA220F8D5}"/>
                </a:ext>
              </a:extLst>
            </p:cNvPr>
            <p:cNvSpPr txBox="1">
              <a:spLocks/>
            </p:cNvSpPr>
            <p:nvPr/>
          </p:nvSpPr>
          <p:spPr>
            <a:xfrm>
              <a:off x="365125" y="1981199"/>
              <a:ext cx="5569213" cy="828675"/>
            </a:xfrm>
            <a:prstGeom prst="rect">
              <a:avLst/>
            </a:prstGeom>
          </p:spPr>
          <p:txBody>
            <a:bodyPr anchor="ctr"/>
            <a:lstStyle>
              <a:lvl1pPr marL="365125" indent="-365125" algn="l" defTabSz="379337" rtl="0" eaLnBrk="1" fontAlgn="base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tabLst/>
                <a:defRPr sz="18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1pPr>
              <a:lvl2pPr marL="577850" indent="-2032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System Font Regular"/>
                <a:buChar char="◦"/>
                <a:tabLst/>
                <a:defRPr sz="16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2pPr>
              <a:lvl3pPr marL="801688" indent="-2032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System Font Regular"/>
                <a:buChar char="–"/>
                <a:tabLst/>
                <a:defRPr sz="14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3pPr>
              <a:lvl4pPr marL="974725" indent="-1524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Arial" panose="020B0604020202020204" pitchFamily="34" charset="0"/>
                <a:buChar char="•"/>
                <a:tabLst/>
                <a:defRPr sz="1200" b="0" kern="120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4pPr>
              <a:lvl5pPr marL="1085850" indent="-111125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80000"/>
                <a:buFont typeface="Courier New" panose="02070309020205020404" pitchFamily="49" charset="0"/>
                <a:buChar char="o"/>
                <a:tabLst/>
                <a:defRPr sz="10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52121" indent="0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None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37756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28181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18605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b="1" err="1">
                  <a:solidFill>
                    <a:schemeClr val="bg1"/>
                  </a:solidFill>
                </a:rPr>
                <a:t>BiTE</a:t>
              </a:r>
              <a:r>
                <a:rPr lang="de-DE" b="1" baseline="30000">
                  <a:solidFill>
                    <a:schemeClr val="bg1"/>
                  </a:solidFill>
                </a:rPr>
                <a:t>®</a:t>
              </a:r>
              <a:r>
                <a:rPr lang="de-DE" b="1">
                  <a:solidFill>
                    <a:schemeClr val="bg1"/>
                  </a:solidFill>
                </a:rPr>
                <a:t> = </a:t>
              </a:r>
              <a:r>
                <a:rPr lang="de-DE">
                  <a:solidFill>
                    <a:schemeClr val="bg1"/>
                  </a:solidFill>
                </a:rPr>
                <a:t>„</a:t>
              </a:r>
              <a:r>
                <a:rPr lang="de-DE" b="1" err="1">
                  <a:solidFill>
                    <a:schemeClr val="accent5"/>
                  </a:solidFill>
                </a:rPr>
                <a:t>bi</a:t>
              </a:r>
              <a:r>
                <a:rPr lang="de-DE" err="1">
                  <a:solidFill>
                    <a:schemeClr val="bg1"/>
                  </a:solidFill>
                </a:rPr>
                <a:t>spezifische</a:t>
              </a:r>
              <a:r>
                <a:rPr lang="de-DE">
                  <a:solidFill>
                    <a:schemeClr val="bg1"/>
                  </a:solidFill>
                </a:rPr>
                <a:t> </a:t>
              </a:r>
              <a:r>
                <a:rPr lang="de-DE" b="1">
                  <a:solidFill>
                    <a:schemeClr val="accent5"/>
                  </a:solidFill>
                </a:rPr>
                <a:t>T</a:t>
              </a:r>
              <a:r>
                <a:rPr lang="de-DE">
                  <a:solidFill>
                    <a:schemeClr val="bg1"/>
                  </a:solidFill>
                </a:rPr>
                <a:t>‑Zell‑</a:t>
              </a:r>
              <a:r>
                <a:rPr lang="de-DE" b="1" err="1">
                  <a:solidFill>
                    <a:schemeClr val="accent5"/>
                  </a:solidFill>
                </a:rPr>
                <a:t>E</a:t>
              </a:r>
              <a:r>
                <a:rPr lang="de-DE" err="1">
                  <a:solidFill>
                    <a:schemeClr val="bg1"/>
                  </a:solidFill>
                </a:rPr>
                <a:t>ngager</a:t>
              </a:r>
              <a:r>
                <a:rPr lang="de-DE">
                  <a:solidFill>
                    <a:schemeClr val="bg1"/>
                  </a:solidFill>
                </a:rPr>
                <a:t>“</a:t>
              </a:r>
              <a:endParaRPr lang="de-DE" b="0" i="0">
                <a:solidFill>
                  <a:schemeClr val="bg1"/>
                </a:solidFill>
                <a:effectLst/>
                <a:latin typeface="+mn-lt"/>
              </a:endParaRPr>
            </a:p>
          </p:txBody>
        </p:sp>
      </p:grp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CE68192-2683-7D0D-1F19-AF46D8870008}"/>
              </a:ext>
            </a:extLst>
          </p:cNvPr>
          <p:cNvSpPr txBox="1">
            <a:spLocks/>
          </p:cNvSpPr>
          <p:nvPr/>
        </p:nvSpPr>
        <p:spPr>
          <a:xfrm>
            <a:off x="365125" y="3655416"/>
            <a:ext cx="5781675" cy="2460625"/>
          </a:xfrm>
          <a:prstGeom prst="rect">
            <a:avLst/>
          </a:prstGeom>
        </p:spPr>
        <p:txBody>
          <a:bodyPr/>
          <a:lstStyle>
            <a:lvl1pPr marL="365125" indent="-365125" algn="l" defTabSz="379337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577850" indent="-2032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System Font Regular"/>
              <a:buChar char="◦"/>
              <a:tabLst/>
              <a:defRPr sz="16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1688" indent="-2032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System Font Regular"/>
              <a:buChar char="–"/>
              <a:tabLst/>
              <a:defRPr sz="14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974725" indent="-1524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085850" indent="-111125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Courier New" panose="02070309020205020404" pitchFamily="49" charset="0"/>
              <a:buChar char="o"/>
              <a:tabLst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2121" indent="0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None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7756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8181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605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 err="1"/>
              <a:t>BiTE</a:t>
            </a:r>
            <a:r>
              <a:rPr lang="de-DE" b="1" baseline="30000"/>
              <a:t>® </a:t>
            </a:r>
            <a:r>
              <a:rPr lang="de-DE" b="1"/>
              <a:t>Moleküle</a:t>
            </a:r>
            <a:r>
              <a:rPr lang="de-DE"/>
              <a:t> vs. </a:t>
            </a:r>
            <a:br>
              <a:rPr lang="de-DE"/>
            </a:br>
            <a:r>
              <a:rPr lang="de-DE"/>
              <a:t>konventionelle </a:t>
            </a:r>
            <a:r>
              <a:rPr lang="de-DE" err="1"/>
              <a:t>bispezifische</a:t>
            </a:r>
            <a:r>
              <a:rPr lang="de-DE"/>
              <a:t> Antikörper:</a:t>
            </a:r>
            <a:r>
              <a:rPr lang="de-DE" baseline="30000"/>
              <a:t>1</a:t>
            </a:r>
          </a:p>
          <a:p>
            <a:r>
              <a:rPr lang="de-DE"/>
              <a:t>Flexible Orientierung der beiden Bindungsdomänen</a:t>
            </a:r>
          </a:p>
          <a:p>
            <a:pPr lvl="1">
              <a:buFont typeface="Century Gothic" panose="020B0502020202020204" pitchFamily="34" charset="0"/>
              <a:buChar char="►"/>
            </a:pPr>
            <a:r>
              <a:rPr lang="de-DE"/>
              <a:t>Ermöglicht </a:t>
            </a:r>
            <a:r>
              <a:rPr lang="de-DE" b="1"/>
              <a:t>optimale Bindung</a:t>
            </a:r>
            <a:r>
              <a:rPr lang="de-DE"/>
              <a:t> an </a:t>
            </a:r>
            <a:r>
              <a:rPr lang="de-DE" b="1"/>
              <a:t>Zielstrukturen</a:t>
            </a:r>
            <a:r>
              <a:rPr lang="de-DE"/>
              <a:t> zweier </a:t>
            </a:r>
            <a:r>
              <a:rPr lang="de-DE" b="1"/>
              <a:t>gegenüberliegender Zellmembranen​</a:t>
            </a:r>
            <a:r>
              <a:rPr lang="de-DE"/>
              <a:t>​​</a:t>
            </a:r>
            <a:endParaRPr lang="de-DE" b="0" i="0">
              <a:solidFill>
                <a:srgbClr val="000000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0DD2F6-8B49-E586-8D6D-AA47F2DA82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err="1"/>
              <a:t>Tarlatamab</a:t>
            </a:r>
            <a:r>
              <a:rPr lang="it-IT"/>
              <a:t> – </a:t>
            </a:r>
            <a:r>
              <a:rPr lang="de-DE"/>
              <a:t>Innovation „Made in Europe“​</a:t>
            </a:r>
            <a:endParaRPr lang="en-US">
              <a:latin typeface="+mj-lt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85B53FA-F047-65ED-4E8D-B83877F5CFA4}"/>
              </a:ext>
            </a:extLst>
          </p:cNvPr>
          <p:cNvSpPr txBox="1">
            <a:spLocks/>
          </p:cNvSpPr>
          <p:nvPr/>
        </p:nvSpPr>
        <p:spPr>
          <a:xfrm>
            <a:off x="1083312" y="6330950"/>
            <a:ext cx="7057388" cy="470463"/>
          </a:xfrm>
          <a:prstGeom prst="rect">
            <a:avLst/>
          </a:prstGeom>
        </p:spPr>
        <p:txBody>
          <a:bodyPr anchor="b"/>
          <a:lstStyle>
            <a:lvl1pPr marL="365125" indent="-365125" algn="l" defTabSz="379337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577850" indent="-2032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System Font Regular"/>
              <a:buChar char="◦"/>
              <a:tabLst/>
              <a:defRPr sz="16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1688" indent="-2032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System Font Regular"/>
              <a:buChar char="–"/>
              <a:tabLst/>
              <a:defRPr sz="14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974725" indent="-1524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085850" indent="-111125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Courier New" panose="02070309020205020404" pitchFamily="49" charset="0"/>
              <a:buChar char="o"/>
              <a:tabLst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2121" indent="0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None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7756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8181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605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800">
                <a:solidFill>
                  <a:schemeClr val="bg1"/>
                </a:solidFill>
              </a:rPr>
              <a:t>1. Wolf E, et al. Drug </a:t>
            </a:r>
            <a:r>
              <a:rPr lang="de-DE" sz="800" err="1">
                <a:solidFill>
                  <a:schemeClr val="bg1"/>
                </a:solidFill>
              </a:rPr>
              <a:t>Discov</a:t>
            </a:r>
            <a:r>
              <a:rPr lang="de-DE" sz="800">
                <a:solidFill>
                  <a:schemeClr val="bg1"/>
                </a:solidFill>
              </a:rPr>
              <a:t> Today. 2005 Sep 15;10(18):1237-44.</a:t>
            </a:r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494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8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95DE29-BAE0-9F36-6B9D-B7AA774872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04ADC9-008C-280B-3782-4A2FF718F4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latin typeface="+mj-lt"/>
              </a:rPr>
              <a:t>Was macht </a:t>
            </a:r>
            <a:r>
              <a:rPr lang="de-DE" err="1">
                <a:latin typeface="+mj-lt"/>
              </a:rPr>
              <a:t>Tarlatamab</a:t>
            </a:r>
            <a:r>
              <a:rPr lang="de-DE">
                <a:latin typeface="+mj-lt"/>
              </a:rPr>
              <a:t> aus?</a:t>
            </a:r>
            <a:endParaRPr lang="de-DE" b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9D9208-66E9-28A2-430C-629B832B6784}"/>
              </a:ext>
            </a:extLst>
          </p:cNvPr>
          <p:cNvSpPr txBox="1">
            <a:spLocks/>
          </p:cNvSpPr>
          <p:nvPr/>
        </p:nvSpPr>
        <p:spPr>
          <a:xfrm>
            <a:off x="1083312" y="6302227"/>
            <a:ext cx="7057388" cy="499186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365125" indent="-365125" algn="l" defTabSz="379337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577850" indent="-2032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System Font Regular"/>
              <a:buChar char="◦"/>
              <a:tabLst/>
              <a:defRPr sz="16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1688" indent="-2032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System Font Regular"/>
              <a:buChar char="–"/>
              <a:tabLst/>
              <a:defRPr sz="14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974725" indent="-1524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085850" indent="-111125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Courier New" panose="02070309020205020404" pitchFamily="49" charset="0"/>
              <a:buChar char="o"/>
              <a:tabLst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2121" indent="0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None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7756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8181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605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800">
                <a:solidFill>
                  <a:schemeClr val="bg1"/>
                </a:solidFill>
                <a:latin typeface="Century Gothic"/>
              </a:rPr>
              <a:t>1. Wolf E, et al. Drug </a:t>
            </a:r>
            <a:r>
              <a:rPr lang="de-DE" sz="800" err="1">
                <a:solidFill>
                  <a:schemeClr val="bg1"/>
                </a:solidFill>
                <a:latin typeface="Century Gothic"/>
              </a:rPr>
              <a:t>Discov</a:t>
            </a:r>
            <a:r>
              <a:rPr lang="de-DE" sz="800">
                <a:solidFill>
                  <a:schemeClr val="bg1"/>
                </a:solidFill>
                <a:latin typeface="Century Gothic"/>
              </a:rPr>
              <a:t> Today. 2005 Sep 15;10(18):1237-44. | 2. Owen DH, et </a:t>
            </a:r>
            <a:r>
              <a:rPr lang="de-DE" sz="800" err="1">
                <a:solidFill>
                  <a:schemeClr val="bg1"/>
                </a:solidFill>
                <a:latin typeface="Century Gothic"/>
              </a:rPr>
              <a:t>ala</a:t>
            </a:r>
            <a:r>
              <a:rPr lang="de-DE" sz="800">
                <a:solidFill>
                  <a:schemeClr val="bg1"/>
                </a:solidFill>
                <a:latin typeface="Century Gothic"/>
              </a:rPr>
              <a:t>. J </a:t>
            </a:r>
            <a:r>
              <a:rPr lang="de-DE" sz="800" err="1">
                <a:solidFill>
                  <a:schemeClr val="bg1"/>
                </a:solidFill>
                <a:latin typeface="Century Gothic"/>
              </a:rPr>
              <a:t>Hematol</a:t>
            </a:r>
            <a:r>
              <a:rPr lang="de-DE" sz="800">
                <a:solidFill>
                  <a:schemeClr val="bg1"/>
                </a:solidFill>
                <a:latin typeface="Century Gothic"/>
              </a:rPr>
              <a:t> </a:t>
            </a:r>
            <a:r>
              <a:rPr lang="de-DE" sz="800" err="1">
                <a:solidFill>
                  <a:schemeClr val="bg1"/>
                </a:solidFill>
                <a:latin typeface="Century Gothic"/>
              </a:rPr>
              <a:t>Oncol</a:t>
            </a:r>
            <a:r>
              <a:rPr lang="de-DE" sz="800">
                <a:solidFill>
                  <a:schemeClr val="bg1"/>
                </a:solidFill>
                <a:latin typeface="Century Gothic"/>
              </a:rPr>
              <a:t>. 2019 Jun 18;12(1):61. </a:t>
            </a:r>
            <a:br>
              <a:rPr lang="de-DE" sz="800"/>
            </a:br>
            <a:r>
              <a:rPr lang="de-DE" sz="800">
                <a:solidFill>
                  <a:schemeClr val="bg1"/>
                </a:solidFill>
                <a:latin typeface="Century Gothic"/>
              </a:rPr>
              <a:t>3. </a:t>
            </a:r>
            <a:r>
              <a:rPr lang="de-DE" sz="800" err="1">
                <a:solidFill>
                  <a:schemeClr val="bg1"/>
                </a:solidFill>
                <a:latin typeface="Century Gothic"/>
              </a:rPr>
              <a:t>Giffin</a:t>
            </a:r>
            <a:r>
              <a:rPr lang="de-DE" sz="800">
                <a:solidFill>
                  <a:schemeClr val="bg1"/>
                </a:solidFill>
                <a:latin typeface="Century Gothic"/>
              </a:rPr>
              <a:t> MJ, et al. </a:t>
            </a:r>
            <a:r>
              <a:rPr lang="de-DE" sz="800" err="1">
                <a:solidFill>
                  <a:schemeClr val="bg1"/>
                </a:solidFill>
                <a:latin typeface="Century Gothic"/>
              </a:rPr>
              <a:t>Clin</a:t>
            </a:r>
            <a:r>
              <a:rPr lang="de-DE" sz="800">
                <a:solidFill>
                  <a:schemeClr val="bg1"/>
                </a:solidFill>
                <a:latin typeface="Century Gothic"/>
              </a:rPr>
              <a:t> Cancer Res. 2021 Mar 1;27(5):1526-1537. | 4. Ahn MJ, et al. N Engl J Med. 2023 Nov 30;389(22):2063-2075.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AD45A33-82C9-9206-058D-F358C3449A3B}"/>
              </a:ext>
            </a:extLst>
          </p:cNvPr>
          <p:cNvSpPr txBox="1">
            <a:spLocks/>
          </p:cNvSpPr>
          <p:nvPr/>
        </p:nvSpPr>
        <p:spPr>
          <a:xfrm>
            <a:off x="365126" y="1181100"/>
            <a:ext cx="4656454" cy="492125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65125" indent="-365125" algn="l" defTabSz="379337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577850" indent="-2032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System Font Regular"/>
              <a:buChar char="◦"/>
              <a:tabLst/>
              <a:defRPr sz="16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1688" indent="-2032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System Font Regular"/>
              <a:buChar char="–"/>
              <a:tabLst/>
              <a:defRPr sz="14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974725" indent="-1524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085850" indent="-111125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Courier New" panose="02070309020205020404" pitchFamily="49" charset="0"/>
              <a:buChar char="o"/>
              <a:tabLst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2121" indent="0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None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7756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8181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605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 err="1"/>
              <a:t>Tarlatamab</a:t>
            </a:r>
            <a:r>
              <a:rPr lang="de-DE" b="1"/>
              <a:t> kombiniert:</a:t>
            </a:r>
            <a:r>
              <a:rPr lang="de-DE" baseline="30000"/>
              <a:t>1</a:t>
            </a:r>
            <a:r>
              <a:rPr lang="de-DE"/>
              <a:t>​</a:t>
            </a:r>
            <a:endParaRPr lang="de-DE" b="1"/>
          </a:p>
          <a:p>
            <a:pPr marL="0" indent="0">
              <a:buNone/>
            </a:pPr>
            <a:r>
              <a:rPr lang="de-DE" sz="1600"/>
              <a:t>​</a:t>
            </a:r>
            <a:r>
              <a:rPr lang="de-DE" b="1">
                <a:solidFill>
                  <a:schemeClr val="accent2"/>
                </a:solidFill>
              </a:rPr>
              <a:t>CD3-Bindestelle</a:t>
            </a:r>
            <a:r>
              <a:rPr lang="de-DE" b="1" baseline="30000">
                <a:solidFill>
                  <a:schemeClr val="accent2"/>
                </a:solidFill>
              </a:rPr>
              <a:t>1</a:t>
            </a:r>
            <a:r>
              <a:rPr lang="de-DE" b="1">
                <a:solidFill>
                  <a:schemeClr val="accent2"/>
                </a:solidFill>
              </a:rPr>
              <a:t>​</a:t>
            </a:r>
          </a:p>
          <a:p>
            <a:r>
              <a:rPr lang="de-DE" sz="1600" b="1"/>
              <a:t>Rekrutierung und </a:t>
            </a:r>
            <a:br>
              <a:rPr lang="de-DE" sz="1600" b="1"/>
            </a:br>
            <a:r>
              <a:rPr lang="de-DE" sz="1600" b="1"/>
              <a:t>Aktivierung von T‑Zellen​</a:t>
            </a:r>
            <a:br>
              <a:rPr lang="de-DE" sz="1600" b="1"/>
            </a:br>
            <a:endParaRPr lang="de-DE" sz="1600" b="1"/>
          </a:p>
          <a:p>
            <a:pPr marL="0" indent="0">
              <a:buNone/>
            </a:pPr>
            <a:r>
              <a:rPr lang="de-DE" b="1">
                <a:solidFill>
                  <a:schemeClr val="accent6"/>
                </a:solidFill>
              </a:rPr>
              <a:t>DLL3-Bindestelle</a:t>
            </a:r>
            <a:r>
              <a:rPr lang="de-DE" b="1" baseline="30000">
                <a:solidFill>
                  <a:schemeClr val="accent6"/>
                </a:solidFill>
              </a:rPr>
              <a:t>2</a:t>
            </a:r>
            <a:r>
              <a:rPr lang="de-DE" sz="1600" b="1">
                <a:solidFill>
                  <a:schemeClr val="accent6"/>
                </a:solidFill>
              </a:rPr>
              <a:t>​</a:t>
            </a:r>
          </a:p>
          <a:p>
            <a:r>
              <a:rPr lang="de-DE" sz="1600"/>
              <a:t>Bei </a:t>
            </a:r>
            <a:r>
              <a:rPr lang="de-DE" sz="1600" b="1"/>
              <a:t>über 80 %</a:t>
            </a:r>
            <a:r>
              <a:rPr lang="de-DE" sz="1600"/>
              <a:t> der SCLC-Fälle wird </a:t>
            </a:r>
            <a:br>
              <a:rPr lang="de-DE" sz="1600"/>
            </a:br>
            <a:r>
              <a:rPr lang="de-DE" sz="1600" b="1"/>
              <a:t>DLL3</a:t>
            </a:r>
            <a:r>
              <a:rPr lang="de-DE" sz="1600"/>
              <a:t> auf der </a:t>
            </a:r>
            <a:r>
              <a:rPr lang="de-DE" sz="1600" b="1"/>
              <a:t>Oberfläche der </a:t>
            </a:r>
            <a:br>
              <a:rPr lang="de-DE" sz="1600" b="1"/>
            </a:br>
            <a:r>
              <a:rPr lang="de-DE" sz="1600" b="1"/>
              <a:t>Tumorzellen</a:t>
            </a:r>
            <a:r>
              <a:rPr lang="de-DE" sz="1600"/>
              <a:t> exprimiert</a:t>
            </a:r>
            <a:r>
              <a:rPr lang="de-DE" sz="1600" baseline="30000"/>
              <a:t>2</a:t>
            </a:r>
            <a:endParaRPr lang="en-US" sz="1600" baseline="30000"/>
          </a:p>
          <a:p>
            <a:r>
              <a:rPr lang="de-DE" sz="1600"/>
              <a:t>Bei gesunden Zellen ​primär intrazellulär</a:t>
            </a:r>
            <a:br>
              <a:rPr lang="de-DE" sz="1600" b="1"/>
            </a:br>
            <a:endParaRPr lang="de-DE" sz="1600" b="1"/>
          </a:p>
          <a:p>
            <a:pPr marL="0" indent="0">
              <a:buNone/>
            </a:pPr>
            <a:r>
              <a:rPr lang="de-DE" b="1">
                <a:latin typeface="Century Gothic"/>
              </a:rPr>
              <a:t>Funktionslose </a:t>
            </a:r>
            <a:r>
              <a:rPr lang="de-DE" b="1" err="1">
                <a:latin typeface="Century Gothic"/>
              </a:rPr>
              <a:t>Fc</a:t>
            </a:r>
            <a:r>
              <a:rPr lang="de-DE" b="1">
                <a:latin typeface="Century Gothic"/>
              </a:rPr>
              <a:t>‑Domäne</a:t>
            </a:r>
            <a:endParaRPr lang="de-DE">
              <a:latin typeface="Century Gothic"/>
            </a:endParaRPr>
          </a:p>
          <a:p>
            <a:r>
              <a:rPr lang="de-DE" sz="1600">
                <a:latin typeface="Century Gothic"/>
              </a:rPr>
              <a:t>Verlängert Halbwertszeit</a:t>
            </a:r>
            <a:r>
              <a:rPr lang="de-DE" sz="1600" baseline="30000">
                <a:latin typeface="Century Gothic"/>
              </a:rPr>
              <a:t>3</a:t>
            </a:r>
            <a:r>
              <a:rPr lang="de-DE" sz="1600">
                <a:latin typeface="Century Gothic"/>
              </a:rPr>
              <a:t>​</a:t>
            </a:r>
            <a:endParaRPr lang="de-DE">
              <a:latin typeface="Century Gothic"/>
            </a:endParaRPr>
          </a:p>
          <a:p>
            <a:r>
              <a:rPr lang="de-DE" sz="1600"/>
              <a:t>Erlaubt ein </a:t>
            </a:r>
            <a:r>
              <a:rPr lang="de-DE" sz="1600" b="1"/>
              <a:t>2‑wöchiges Infusionsintervall</a:t>
            </a:r>
            <a:r>
              <a:rPr lang="de-DE" sz="1600" b="1" baseline="30000"/>
              <a:t>4</a:t>
            </a:r>
            <a:endParaRPr lang="de-DE" sz="1600" baseline="30000"/>
          </a:p>
          <a:p>
            <a:pPr marL="0" indent="0">
              <a:buNone/>
            </a:pPr>
            <a:endParaRPr lang="de-DE"/>
          </a:p>
          <a:p>
            <a:endParaRPr lang="de-DE">
              <a:effectLst/>
            </a:endParaRPr>
          </a:p>
          <a:p>
            <a:pPr marL="0" indent="0">
              <a:buNone/>
            </a:pPr>
            <a:endParaRPr lang="de-DE">
              <a:effectLst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928701BF-E930-259A-6E43-51C76AE46DFA}"/>
              </a:ext>
            </a:extLst>
          </p:cNvPr>
          <p:cNvGrpSpPr/>
          <p:nvPr/>
        </p:nvGrpSpPr>
        <p:grpSpPr>
          <a:xfrm>
            <a:off x="8323579" y="1181100"/>
            <a:ext cx="2623943" cy="508876"/>
            <a:chOff x="8140699" y="1048227"/>
            <a:chExt cx="2623943" cy="508876"/>
          </a:xfrm>
        </p:grpSpPr>
        <p:pic>
          <p:nvPicPr>
            <p:cNvPr id="28" name="Grafik 27" descr="Ein Bild, das Kreis, Symbol, Grafiken, Logo enthält.&#10;&#10;KI-generierte Inhalte können fehlerhaft sein.">
              <a:extLst>
                <a:ext uri="{FF2B5EF4-FFF2-40B4-BE49-F238E27FC236}">
                  <a16:creationId xmlns:a16="http://schemas.microsoft.com/office/drawing/2014/main" id="{34B9357D-EA27-5369-8067-6C67AE0BF62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0699" y="1149142"/>
              <a:ext cx="317341" cy="317341"/>
            </a:xfrm>
            <a:prstGeom prst="rect">
              <a:avLst/>
            </a:prstGeom>
          </p:spPr>
        </p:pic>
        <p:sp>
          <p:nvSpPr>
            <p:cNvPr id="30" name="Content Placeholder 2">
              <a:extLst>
                <a:ext uri="{FF2B5EF4-FFF2-40B4-BE49-F238E27FC236}">
                  <a16:creationId xmlns:a16="http://schemas.microsoft.com/office/drawing/2014/main" id="{9CE73CB7-8FA1-4495-211E-7C148D6EC038}"/>
                </a:ext>
              </a:extLst>
            </p:cNvPr>
            <p:cNvSpPr txBox="1">
              <a:spLocks/>
            </p:cNvSpPr>
            <p:nvPr/>
          </p:nvSpPr>
          <p:spPr>
            <a:xfrm>
              <a:off x="8430536" y="1048227"/>
              <a:ext cx="2334106" cy="508876"/>
            </a:xfrm>
            <a:prstGeom prst="rect">
              <a:avLst/>
            </a:prstGeom>
          </p:spPr>
          <p:txBody>
            <a:bodyPr anchor="ctr"/>
            <a:lstStyle>
              <a:lvl1pPr marL="365125" indent="-365125" algn="l" defTabSz="379337" rtl="0" eaLnBrk="1" fontAlgn="base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tabLst/>
                <a:defRPr sz="18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1pPr>
              <a:lvl2pPr marL="577850" indent="-2032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System Font Regular"/>
                <a:buChar char="◦"/>
                <a:tabLst/>
                <a:defRPr sz="16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2pPr>
              <a:lvl3pPr marL="801688" indent="-2032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System Font Regular"/>
                <a:buChar char="–"/>
                <a:tabLst/>
                <a:defRPr sz="14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3pPr>
              <a:lvl4pPr marL="974725" indent="-1524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Arial" panose="020B0604020202020204" pitchFamily="34" charset="0"/>
                <a:buChar char="•"/>
                <a:tabLst/>
                <a:defRPr sz="1200" b="0" kern="120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4pPr>
              <a:lvl5pPr marL="1085850" indent="-111125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80000"/>
                <a:buFont typeface="Courier New" panose="02070309020205020404" pitchFamily="49" charset="0"/>
                <a:buChar char="o"/>
                <a:tabLst/>
                <a:defRPr sz="10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52121" indent="0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None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37756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28181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18605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1200"/>
                <a:t>Variable Region der leichten </a:t>
              </a:r>
              <a:br>
                <a:rPr lang="de-DE" sz="1200"/>
              </a:br>
              <a:r>
                <a:rPr lang="de-DE" sz="1200"/>
                <a:t>Kette des CD3-Antikörpers</a:t>
              </a:r>
              <a:r>
                <a:rPr lang="de-DE" sz="1200" baseline="30000"/>
                <a:t>1</a:t>
              </a:r>
              <a:r>
                <a:rPr lang="de-DE" sz="1200"/>
                <a:t>​</a:t>
              </a:r>
              <a:endParaRPr lang="de-DE" sz="1200" b="0" i="0">
                <a:effectLst/>
                <a:latin typeface="+mn-lt"/>
              </a:endParaRP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A944AA93-A03B-966D-648C-66E09B033AC9}"/>
              </a:ext>
            </a:extLst>
          </p:cNvPr>
          <p:cNvGrpSpPr/>
          <p:nvPr/>
        </p:nvGrpSpPr>
        <p:grpSpPr>
          <a:xfrm>
            <a:off x="8323579" y="1801587"/>
            <a:ext cx="2623943" cy="508876"/>
            <a:chOff x="8140699" y="1600511"/>
            <a:chExt cx="2623943" cy="508876"/>
          </a:xfrm>
        </p:grpSpPr>
        <p:pic>
          <p:nvPicPr>
            <p:cNvPr id="33" name="Grafik 32" descr="Ein Bild, das Kreis, Grafiken, Symbol, Schrift enthält.&#10;&#10;KI-generierte Inhalte können fehlerhaft sein.">
              <a:extLst>
                <a:ext uri="{FF2B5EF4-FFF2-40B4-BE49-F238E27FC236}">
                  <a16:creationId xmlns:a16="http://schemas.microsoft.com/office/drawing/2014/main" id="{426F34F3-29F7-FB82-0ED0-B2DCA937EAF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0699" y="1700568"/>
              <a:ext cx="317341" cy="317341"/>
            </a:xfrm>
            <a:prstGeom prst="rect">
              <a:avLst/>
            </a:prstGeom>
          </p:spPr>
        </p:pic>
        <p:sp>
          <p:nvSpPr>
            <p:cNvPr id="34" name="Content Placeholder 2">
              <a:extLst>
                <a:ext uri="{FF2B5EF4-FFF2-40B4-BE49-F238E27FC236}">
                  <a16:creationId xmlns:a16="http://schemas.microsoft.com/office/drawing/2014/main" id="{C259DB1C-BAE0-8956-E85F-78403861C3F8}"/>
                </a:ext>
              </a:extLst>
            </p:cNvPr>
            <p:cNvSpPr txBox="1">
              <a:spLocks/>
            </p:cNvSpPr>
            <p:nvPr/>
          </p:nvSpPr>
          <p:spPr>
            <a:xfrm>
              <a:off x="8430536" y="1600511"/>
              <a:ext cx="2334106" cy="508876"/>
            </a:xfrm>
            <a:prstGeom prst="rect">
              <a:avLst/>
            </a:prstGeom>
          </p:spPr>
          <p:txBody>
            <a:bodyPr anchor="ctr"/>
            <a:lstStyle>
              <a:lvl1pPr marL="365125" indent="-365125" algn="l" defTabSz="379337" rtl="0" eaLnBrk="1" fontAlgn="base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tabLst/>
                <a:defRPr sz="18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1pPr>
              <a:lvl2pPr marL="577850" indent="-2032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System Font Regular"/>
                <a:buChar char="◦"/>
                <a:tabLst/>
                <a:defRPr sz="16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2pPr>
              <a:lvl3pPr marL="801688" indent="-2032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System Font Regular"/>
                <a:buChar char="–"/>
                <a:tabLst/>
                <a:defRPr sz="14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3pPr>
              <a:lvl4pPr marL="974725" indent="-1524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Arial" panose="020B0604020202020204" pitchFamily="34" charset="0"/>
                <a:buChar char="•"/>
                <a:tabLst/>
                <a:defRPr sz="1200" b="0" kern="120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4pPr>
              <a:lvl5pPr marL="1085850" indent="-111125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80000"/>
                <a:buFont typeface="Courier New" panose="02070309020205020404" pitchFamily="49" charset="0"/>
                <a:buChar char="o"/>
                <a:tabLst/>
                <a:defRPr sz="10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52121" indent="0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None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37756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28181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18605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1200"/>
                <a:t>CD3-bindende Domäne</a:t>
              </a:r>
              <a:r>
                <a:rPr lang="de-DE" sz="1200" baseline="30000"/>
                <a:t>1</a:t>
              </a:r>
              <a:r>
                <a:rPr lang="de-DE" sz="1200"/>
                <a:t>​</a:t>
              </a:r>
              <a:endParaRPr lang="de-DE" sz="1200" b="0" i="0">
                <a:effectLst/>
                <a:latin typeface="+mn-lt"/>
              </a:endParaRP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76CF1594-4274-3B15-59FA-60EE26B61384}"/>
              </a:ext>
            </a:extLst>
          </p:cNvPr>
          <p:cNvGrpSpPr/>
          <p:nvPr/>
        </p:nvGrpSpPr>
        <p:grpSpPr>
          <a:xfrm>
            <a:off x="8323579" y="2422074"/>
            <a:ext cx="2867025" cy="508876"/>
            <a:chOff x="8140699" y="2152795"/>
            <a:chExt cx="2867025" cy="508876"/>
          </a:xfrm>
        </p:grpSpPr>
        <p:pic>
          <p:nvPicPr>
            <p:cNvPr id="36" name="Grafik 35" descr="Ein Bild, das Kreis, Grafiken, Symbol, Design enthält.&#10;&#10;KI-generierte Inhalte können fehlerhaft sein.">
              <a:extLst>
                <a:ext uri="{FF2B5EF4-FFF2-40B4-BE49-F238E27FC236}">
                  <a16:creationId xmlns:a16="http://schemas.microsoft.com/office/drawing/2014/main" id="{FA15E026-1194-ED3C-4BCA-20EC18F6597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0699" y="2251994"/>
              <a:ext cx="317341" cy="317341"/>
            </a:xfrm>
            <a:prstGeom prst="rect">
              <a:avLst/>
            </a:prstGeom>
          </p:spPr>
        </p:pic>
        <p:sp>
          <p:nvSpPr>
            <p:cNvPr id="37" name="Content Placeholder 2">
              <a:extLst>
                <a:ext uri="{FF2B5EF4-FFF2-40B4-BE49-F238E27FC236}">
                  <a16:creationId xmlns:a16="http://schemas.microsoft.com/office/drawing/2014/main" id="{79E07D72-EEEA-75CC-8949-60528E9C6BB8}"/>
                </a:ext>
              </a:extLst>
            </p:cNvPr>
            <p:cNvSpPr txBox="1">
              <a:spLocks/>
            </p:cNvSpPr>
            <p:nvPr/>
          </p:nvSpPr>
          <p:spPr>
            <a:xfrm>
              <a:off x="8430535" y="2152795"/>
              <a:ext cx="2577189" cy="508876"/>
            </a:xfrm>
            <a:prstGeom prst="rect">
              <a:avLst/>
            </a:prstGeom>
          </p:spPr>
          <p:txBody>
            <a:bodyPr anchor="ctr"/>
            <a:lstStyle>
              <a:lvl1pPr marL="365125" indent="-365125" algn="l" defTabSz="379337" rtl="0" eaLnBrk="1" fontAlgn="base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tabLst/>
                <a:defRPr sz="18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1pPr>
              <a:lvl2pPr marL="577850" indent="-2032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System Font Regular"/>
                <a:buChar char="◦"/>
                <a:tabLst/>
                <a:defRPr sz="16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2pPr>
              <a:lvl3pPr marL="801688" indent="-2032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System Font Regular"/>
                <a:buChar char="–"/>
                <a:tabLst/>
                <a:defRPr sz="14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3pPr>
              <a:lvl4pPr marL="974725" indent="-1524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Arial" panose="020B0604020202020204" pitchFamily="34" charset="0"/>
                <a:buChar char="•"/>
                <a:tabLst/>
                <a:defRPr sz="1200" b="0" kern="120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4pPr>
              <a:lvl5pPr marL="1085850" indent="-111125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80000"/>
                <a:buFont typeface="Courier New" panose="02070309020205020404" pitchFamily="49" charset="0"/>
                <a:buChar char="o"/>
                <a:tabLst/>
                <a:defRPr sz="10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52121" indent="0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None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37756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28181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18605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1200"/>
                <a:t>Variable Region der schweren </a:t>
              </a:r>
              <a:br>
                <a:rPr lang="de-DE" sz="1200"/>
              </a:br>
              <a:r>
                <a:rPr lang="de-DE" sz="1200"/>
                <a:t>Kette des CD3-Antikörpers</a:t>
              </a:r>
              <a:r>
                <a:rPr lang="de-DE" sz="1200" baseline="30000"/>
                <a:t>1</a:t>
              </a:r>
              <a:r>
                <a:rPr lang="de-DE" sz="1200"/>
                <a:t>​</a:t>
              </a:r>
              <a:endParaRPr lang="de-DE" sz="1200" b="0" i="0">
                <a:effectLst/>
                <a:latin typeface="+mn-lt"/>
              </a:endParaRP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546D3297-B71D-6857-E161-F315DEB587AC}"/>
              </a:ext>
            </a:extLst>
          </p:cNvPr>
          <p:cNvGrpSpPr/>
          <p:nvPr/>
        </p:nvGrpSpPr>
        <p:grpSpPr>
          <a:xfrm>
            <a:off x="8323579" y="3042561"/>
            <a:ext cx="2787223" cy="508876"/>
            <a:chOff x="8140699" y="2705079"/>
            <a:chExt cx="2787223" cy="508876"/>
          </a:xfrm>
        </p:grpSpPr>
        <p:pic>
          <p:nvPicPr>
            <p:cNvPr id="39" name="Grafik 38" descr="Ein Bild, das Symbol, Kreis, Logo, Schrift enthält.&#10;&#10;KI-generierte Inhalte können fehlerhaft sein.">
              <a:extLst>
                <a:ext uri="{FF2B5EF4-FFF2-40B4-BE49-F238E27FC236}">
                  <a16:creationId xmlns:a16="http://schemas.microsoft.com/office/drawing/2014/main" id="{93D3871E-4871-076D-C89A-ABB38CDCFFA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0699" y="2803420"/>
              <a:ext cx="317341" cy="317341"/>
            </a:xfrm>
            <a:prstGeom prst="rect">
              <a:avLst/>
            </a:prstGeom>
          </p:spPr>
        </p:pic>
        <p:sp>
          <p:nvSpPr>
            <p:cNvPr id="40" name="Content Placeholder 2">
              <a:extLst>
                <a:ext uri="{FF2B5EF4-FFF2-40B4-BE49-F238E27FC236}">
                  <a16:creationId xmlns:a16="http://schemas.microsoft.com/office/drawing/2014/main" id="{29058D5D-4DE8-43A9-6C04-AFF1A7B6F0B0}"/>
                </a:ext>
              </a:extLst>
            </p:cNvPr>
            <p:cNvSpPr txBox="1">
              <a:spLocks/>
            </p:cNvSpPr>
            <p:nvPr/>
          </p:nvSpPr>
          <p:spPr>
            <a:xfrm>
              <a:off x="8430536" y="2705079"/>
              <a:ext cx="2497386" cy="508876"/>
            </a:xfrm>
            <a:prstGeom prst="rect">
              <a:avLst/>
            </a:prstGeom>
          </p:spPr>
          <p:txBody>
            <a:bodyPr anchor="ctr"/>
            <a:lstStyle>
              <a:lvl1pPr marL="365125" indent="-365125" algn="l" defTabSz="379337" rtl="0" eaLnBrk="1" fontAlgn="base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tabLst/>
                <a:defRPr sz="18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1pPr>
              <a:lvl2pPr marL="577850" indent="-2032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System Font Regular"/>
                <a:buChar char="◦"/>
                <a:tabLst/>
                <a:defRPr sz="16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2pPr>
              <a:lvl3pPr marL="801688" indent="-2032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System Font Regular"/>
                <a:buChar char="–"/>
                <a:tabLst/>
                <a:defRPr sz="14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3pPr>
              <a:lvl4pPr marL="974725" indent="-1524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Arial" panose="020B0604020202020204" pitchFamily="34" charset="0"/>
                <a:buChar char="•"/>
                <a:tabLst/>
                <a:defRPr sz="1200" b="0" kern="120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4pPr>
              <a:lvl5pPr marL="1085850" indent="-111125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80000"/>
                <a:buFont typeface="Courier New" panose="02070309020205020404" pitchFamily="49" charset="0"/>
                <a:buChar char="o"/>
                <a:tabLst/>
                <a:defRPr sz="10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52121" indent="0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None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37756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28181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18605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1200"/>
                <a:t>Variable Region der leichten Kette des DLL3-Antikörpers</a:t>
              </a:r>
              <a:r>
                <a:rPr lang="de-DE" sz="1200" baseline="30000"/>
                <a:t>1</a:t>
              </a:r>
              <a:r>
                <a:rPr lang="de-DE" sz="1200"/>
                <a:t>​</a:t>
              </a:r>
              <a:endParaRPr lang="de-DE" sz="1200" b="0" i="0">
                <a:effectLst/>
                <a:latin typeface="+mn-lt"/>
              </a:endParaRPr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F723DDE7-A761-3C0A-2B88-E9E78283C871}"/>
              </a:ext>
            </a:extLst>
          </p:cNvPr>
          <p:cNvGrpSpPr/>
          <p:nvPr/>
        </p:nvGrpSpPr>
        <p:grpSpPr>
          <a:xfrm>
            <a:off x="8323579" y="4904022"/>
            <a:ext cx="2623943" cy="508876"/>
            <a:chOff x="8140699" y="4771149"/>
            <a:chExt cx="2623943" cy="508876"/>
          </a:xfrm>
        </p:grpSpPr>
        <p:pic>
          <p:nvPicPr>
            <p:cNvPr id="42" name="Grafik 41" descr="Ein Bild, das Kreis, Symbol, Grafiken, weiß enthält.&#10;&#10;KI-generierte Inhalte können fehlerhaft sein.">
              <a:extLst>
                <a:ext uri="{FF2B5EF4-FFF2-40B4-BE49-F238E27FC236}">
                  <a16:creationId xmlns:a16="http://schemas.microsoft.com/office/drawing/2014/main" id="{1F772CEB-D619-EBA5-3452-4B483731E1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0699" y="4866917"/>
              <a:ext cx="317341" cy="317341"/>
            </a:xfrm>
            <a:prstGeom prst="rect">
              <a:avLst/>
            </a:prstGeom>
          </p:spPr>
        </p:pic>
        <p:sp>
          <p:nvSpPr>
            <p:cNvPr id="43" name="Content Placeholder 2">
              <a:extLst>
                <a:ext uri="{FF2B5EF4-FFF2-40B4-BE49-F238E27FC236}">
                  <a16:creationId xmlns:a16="http://schemas.microsoft.com/office/drawing/2014/main" id="{595DAA0B-3777-5C91-8B88-BA7406D75F8D}"/>
                </a:ext>
              </a:extLst>
            </p:cNvPr>
            <p:cNvSpPr txBox="1">
              <a:spLocks/>
            </p:cNvSpPr>
            <p:nvPr/>
          </p:nvSpPr>
          <p:spPr>
            <a:xfrm>
              <a:off x="8430536" y="4771149"/>
              <a:ext cx="2334106" cy="508876"/>
            </a:xfrm>
            <a:prstGeom prst="rect">
              <a:avLst/>
            </a:prstGeom>
          </p:spPr>
          <p:txBody>
            <a:bodyPr anchor="ctr"/>
            <a:lstStyle>
              <a:lvl1pPr marL="365125" indent="-365125" algn="l" defTabSz="379337" rtl="0" eaLnBrk="1" fontAlgn="base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tabLst/>
                <a:defRPr sz="18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1pPr>
              <a:lvl2pPr marL="577850" indent="-2032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System Font Regular"/>
                <a:buChar char="◦"/>
                <a:tabLst/>
                <a:defRPr sz="16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2pPr>
              <a:lvl3pPr marL="801688" indent="-2032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System Font Regular"/>
                <a:buChar char="–"/>
                <a:tabLst/>
                <a:defRPr sz="14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3pPr>
              <a:lvl4pPr marL="974725" indent="-1524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Arial" panose="020B0604020202020204" pitchFamily="34" charset="0"/>
                <a:buChar char="•"/>
                <a:tabLst/>
                <a:defRPr sz="1200" b="0" kern="120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4pPr>
              <a:lvl5pPr marL="1085850" indent="-111125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80000"/>
                <a:buFont typeface="Courier New" panose="02070309020205020404" pitchFamily="49" charset="0"/>
                <a:buChar char="o"/>
                <a:tabLst/>
                <a:defRPr sz="10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52121" indent="0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None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37756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28181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18605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1200"/>
                <a:t>Fc-Domäne</a:t>
              </a:r>
              <a:r>
                <a:rPr lang="de-DE" sz="1200" baseline="30000"/>
                <a:t>1</a:t>
              </a:r>
              <a:endParaRPr lang="de-DE" sz="1200" b="0" i="0" baseline="30000">
                <a:effectLst/>
                <a:latin typeface="+mn-lt"/>
              </a:endParaRPr>
            </a:p>
          </p:txBody>
        </p: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8D526794-683E-5DFF-E77A-55DB8F738936}"/>
              </a:ext>
            </a:extLst>
          </p:cNvPr>
          <p:cNvGrpSpPr/>
          <p:nvPr/>
        </p:nvGrpSpPr>
        <p:grpSpPr>
          <a:xfrm>
            <a:off x="8323579" y="4283535"/>
            <a:ext cx="2787221" cy="508876"/>
            <a:chOff x="8140699" y="3809647"/>
            <a:chExt cx="2787221" cy="508876"/>
          </a:xfrm>
        </p:grpSpPr>
        <p:pic>
          <p:nvPicPr>
            <p:cNvPr id="45" name="Grafik 44" descr="Ein Bild, das Kreis, Grafiken, Logo, Design enthält.&#10;&#10;KI-generierte Inhalte können fehlerhaft sein.">
              <a:extLst>
                <a:ext uri="{FF2B5EF4-FFF2-40B4-BE49-F238E27FC236}">
                  <a16:creationId xmlns:a16="http://schemas.microsoft.com/office/drawing/2014/main" id="{0445ED6C-8F20-E735-A4E9-1EF69191E13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0699" y="3906272"/>
              <a:ext cx="317341" cy="317341"/>
            </a:xfrm>
            <a:prstGeom prst="rect">
              <a:avLst/>
            </a:prstGeom>
          </p:spPr>
        </p:pic>
        <p:sp>
          <p:nvSpPr>
            <p:cNvPr id="46" name="Content Placeholder 2">
              <a:extLst>
                <a:ext uri="{FF2B5EF4-FFF2-40B4-BE49-F238E27FC236}">
                  <a16:creationId xmlns:a16="http://schemas.microsoft.com/office/drawing/2014/main" id="{FAF75468-044D-117F-54DD-FF5E4542EC53}"/>
                </a:ext>
              </a:extLst>
            </p:cNvPr>
            <p:cNvSpPr txBox="1">
              <a:spLocks/>
            </p:cNvSpPr>
            <p:nvPr/>
          </p:nvSpPr>
          <p:spPr>
            <a:xfrm>
              <a:off x="8430535" y="3809647"/>
              <a:ext cx="2497385" cy="508876"/>
            </a:xfrm>
            <a:prstGeom prst="rect">
              <a:avLst/>
            </a:prstGeom>
          </p:spPr>
          <p:txBody>
            <a:bodyPr anchor="ctr"/>
            <a:lstStyle>
              <a:lvl1pPr marL="365125" indent="-365125" algn="l" defTabSz="379337" rtl="0" eaLnBrk="1" fontAlgn="base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tabLst/>
                <a:defRPr sz="18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1pPr>
              <a:lvl2pPr marL="577850" indent="-2032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System Font Regular"/>
                <a:buChar char="◦"/>
                <a:tabLst/>
                <a:defRPr sz="16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2pPr>
              <a:lvl3pPr marL="801688" indent="-2032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System Font Regular"/>
                <a:buChar char="–"/>
                <a:tabLst/>
                <a:defRPr sz="14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3pPr>
              <a:lvl4pPr marL="974725" indent="-1524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Arial" panose="020B0604020202020204" pitchFamily="34" charset="0"/>
                <a:buChar char="•"/>
                <a:tabLst/>
                <a:defRPr sz="1200" b="0" kern="120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4pPr>
              <a:lvl5pPr marL="1085850" indent="-111125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80000"/>
                <a:buFont typeface="Courier New" panose="02070309020205020404" pitchFamily="49" charset="0"/>
                <a:buChar char="o"/>
                <a:tabLst/>
                <a:defRPr sz="10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52121" indent="0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None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37756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28181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18605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1200"/>
                <a:t>Variable Region der schweren Kette des DLL3-Antikörpers</a:t>
              </a:r>
              <a:r>
                <a:rPr lang="de-DE" sz="1200" baseline="30000"/>
                <a:t>1</a:t>
              </a:r>
              <a:r>
                <a:rPr lang="de-DE" sz="1200"/>
                <a:t>​</a:t>
              </a:r>
            </a:p>
          </p:txBody>
        </p:sp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B562645D-8FE2-643B-DF7F-4DAC92B1902F}"/>
              </a:ext>
            </a:extLst>
          </p:cNvPr>
          <p:cNvGrpSpPr/>
          <p:nvPr/>
        </p:nvGrpSpPr>
        <p:grpSpPr>
          <a:xfrm>
            <a:off x="8323579" y="3663048"/>
            <a:ext cx="2623943" cy="508876"/>
            <a:chOff x="8140699" y="3257363"/>
            <a:chExt cx="2623943" cy="508876"/>
          </a:xfrm>
        </p:grpSpPr>
        <p:pic>
          <p:nvPicPr>
            <p:cNvPr id="48" name="Grafik 47" descr="Ein Bild, das Kreis, Grafiken, Logo, Symbol enthält.&#10;&#10;KI-generierte Inhalte können fehlerhaft sein.">
              <a:extLst>
                <a:ext uri="{FF2B5EF4-FFF2-40B4-BE49-F238E27FC236}">
                  <a16:creationId xmlns:a16="http://schemas.microsoft.com/office/drawing/2014/main" id="{102E6964-D66B-DC7B-AD90-A7EDFC48822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0699" y="3354846"/>
              <a:ext cx="317341" cy="317341"/>
            </a:xfrm>
            <a:prstGeom prst="rect">
              <a:avLst/>
            </a:prstGeom>
          </p:spPr>
        </p:pic>
        <p:sp>
          <p:nvSpPr>
            <p:cNvPr id="49" name="Content Placeholder 2">
              <a:extLst>
                <a:ext uri="{FF2B5EF4-FFF2-40B4-BE49-F238E27FC236}">
                  <a16:creationId xmlns:a16="http://schemas.microsoft.com/office/drawing/2014/main" id="{9EC9E186-3FEE-4FDA-0C83-B4A0E32C13E7}"/>
                </a:ext>
              </a:extLst>
            </p:cNvPr>
            <p:cNvSpPr txBox="1">
              <a:spLocks/>
            </p:cNvSpPr>
            <p:nvPr/>
          </p:nvSpPr>
          <p:spPr>
            <a:xfrm>
              <a:off x="8430536" y="3257363"/>
              <a:ext cx="2334106" cy="508876"/>
            </a:xfrm>
            <a:prstGeom prst="rect">
              <a:avLst/>
            </a:prstGeom>
          </p:spPr>
          <p:txBody>
            <a:bodyPr anchor="ctr"/>
            <a:lstStyle>
              <a:lvl1pPr marL="365125" indent="-365125" algn="l" defTabSz="379337" rtl="0" eaLnBrk="1" fontAlgn="base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tabLst/>
                <a:defRPr sz="18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1pPr>
              <a:lvl2pPr marL="577850" indent="-2032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System Font Regular"/>
                <a:buChar char="◦"/>
                <a:tabLst/>
                <a:defRPr sz="16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2pPr>
              <a:lvl3pPr marL="801688" indent="-2032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System Font Regular"/>
                <a:buChar char="–"/>
                <a:tabLst/>
                <a:defRPr sz="1400" b="0" kern="1200" spc="1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3pPr>
              <a:lvl4pPr marL="974725" indent="-152400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Arial" panose="020B0604020202020204" pitchFamily="34" charset="0"/>
                <a:buChar char="•"/>
                <a:tabLst/>
                <a:defRPr sz="1200" b="0" kern="120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4pPr>
              <a:lvl5pPr marL="1085850" indent="-111125" algn="l" defTabSz="379337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ct val="80000"/>
                <a:buFont typeface="Courier New" panose="02070309020205020404" pitchFamily="49" charset="0"/>
                <a:buChar char="o"/>
                <a:tabLst/>
                <a:defRPr sz="10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52121" indent="0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None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37756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28181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18605" indent="-95213" algn="l" defTabSz="380848" rtl="0" eaLnBrk="1" latinLnBrk="0" hangingPunct="1">
                <a:lnSpc>
                  <a:spcPct val="90000"/>
                </a:lnSpc>
                <a:spcBef>
                  <a:spcPts val="208"/>
                </a:spcBef>
                <a:buFont typeface="Arial" panose="020B0604020202020204" pitchFamily="34" charset="0"/>
                <a:buChar char="•"/>
                <a:defRPr sz="7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1200"/>
                <a:t>DLL3-bindende Domäne</a:t>
              </a:r>
              <a:r>
                <a:rPr lang="de-DE" sz="1200" baseline="30000"/>
                <a:t>1</a:t>
              </a:r>
              <a:r>
                <a:rPr lang="de-DE" sz="1200"/>
                <a:t>​</a:t>
              </a:r>
              <a:endParaRPr lang="de-DE" sz="1200" b="0" i="0">
                <a:effectLst/>
                <a:latin typeface="+mn-lt"/>
              </a:endParaRPr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E9CC1ED3-A6F9-368A-8360-36E050F5EFE5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3808" y="867269"/>
            <a:ext cx="3624384" cy="5123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164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7CE954-F8BE-80A9-9B51-2075563876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AmgenTarlatamab_Zielen">
            <a:hlinkClick r:id="" action="ppaction://media"/>
            <a:extLst>
              <a:ext uri="{FF2B5EF4-FFF2-40B4-BE49-F238E27FC236}">
                <a16:creationId xmlns:a16="http://schemas.microsoft.com/office/drawing/2014/main" id="{C3C8AEAA-B098-ED56-1B56-FDEA500DA26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6350001" cy="6858000"/>
          </a:xfrm>
          <a:prstGeom prst="rect">
            <a:avLst/>
          </a:prstGeom>
        </p:spPr>
      </p:pic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84EC9E-D222-36CE-CC5C-DE1FE7540162}"/>
              </a:ext>
            </a:extLst>
          </p:cNvPr>
          <p:cNvGrpSpPr/>
          <p:nvPr/>
        </p:nvGrpSpPr>
        <p:grpSpPr>
          <a:xfrm>
            <a:off x="4217579" y="494404"/>
            <a:ext cx="454754" cy="512967"/>
            <a:chOff x="4310121" y="630499"/>
            <a:chExt cx="600075" cy="676890"/>
          </a:xfrm>
        </p:grpSpPr>
        <p:sp>
          <p:nvSpPr>
            <p:cNvPr id="6" name="Ellipse 5">
              <a:extLst>
                <a:ext uri="{FF2B5EF4-FFF2-40B4-BE49-F238E27FC236}">
                  <a16:creationId xmlns:a16="http://schemas.microsoft.com/office/drawing/2014/main" id="{A7A020F3-752B-133C-3A50-6988FEF65A13}"/>
                </a:ext>
              </a:extLst>
            </p:cNvPr>
            <p:cNvSpPr/>
            <p:nvPr/>
          </p:nvSpPr>
          <p:spPr>
            <a:xfrm>
              <a:off x="4310121" y="630499"/>
              <a:ext cx="600075" cy="600076"/>
            </a:xfrm>
            <a:prstGeom prst="ellipse">
              <a:avLst/>
            </a:prstGeom>
            <a:solidFill>
              <a:schemeClr val="accent1"/>
            </a:solidFill>
            <a:ln w="19050" cap="flat">
              <a:solidFill>
                <a:schemeClr val="bg1"/>
              </a:solidFill>
              <a:prstDash val="solid"/>
              <a:miter/>
            </a:ln>
          </p:spPr>
          <p:txBody>
            <a:bodyPr wrap="square" tIns="91440" bIns="91440" rtlCol="0" anchor="ctr">
              <a:spAutoFit/>
            </a:bodyPr>
            <a:lstStyle/>
            <a:p>
              <a:pPr algn="l">
                <a:spcBef>
                  <a:spcPts val="0"/>
                </a:spcBef>
              </a:pPr>
              <a:endParaRPr lang="de-DE" sz="1400">
                <a:latin typeface="+mn-lt"/>
              </a:endParaRPr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6DB19A2A-AB6C-06A9-E747-3471A0F56EF9}"/>
                </a:ext>
              </a:extLst>
            </p:cNvPr>
            <p:cNvSpPr txBox="1"/>
            <p:nvPr/>
          </p:nvSpPr>
          <p:spPr>
            <a:xfrm>
              <a:off x="4316977" y="684031"/>
              <a:ext cx="593219" cy="62335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b="1">
                  <a:solidFill>
                    <a:schemeClr val="bg1"/>
                  </a:solidFill>
                  <a:latin typeface="+mn-lt"/>
                </a:rPr>
                <a:t>1</a:t>
              </a:r>
            </a:p>
          </p:txBody>
        </p:sp>
      </p:grpSp>
      <p:sp>
        <p:nvSpPr>
          <p:cNvPr id="3" name="Rechteck 2">
            <a:extLst>
              <a:ext uri="{FF2B5EF4-FFF2-40B4-BE49-F238E27FC236}">
                <a16:creationId xmlns:a16="http://schemas.microsoft.com/office/drawing/2014/main" id="{D5F80C46-EA0A-200F-28C0-0B291E62A197}"/>
              </a:ext>
            </a:extLst>
          </p:cNvPr>
          <p:cNvSpPr/>
          <p:nvPr/>
        </p:nvSpPr>
        <p:spPr>
          <a:xfrm>
            <a:off x="5518800" y="1800"/>
            <a:ext cx="1639517" cy="6853958"/>
          </a:xfrm>
          <a:prstGeom prst="rect">
            <a:avLst/>
          </a:pr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wrap="square" tIns="91440" bIns="91440" rtlCol="0" anchor="ctr">
            <a:spAutoFit/>
          </a:bodyPr>
          <a:lstStyle/>
          <a:p>
            <a:pPr algn="l">
              <a:spcBef>
                <a:spcPts val="0"/>
              </a:spcBef>
            </a:pPr>
            <a:endParaRPr lang="de-DE" sz="1400">
              <a:latin typeface="+mn-lt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4D5C4BF-C7A5-DB2C-72D4-988641FBBD2E}"/>
              </a:ext>
            </a:extLst>
          </p:cNvPr>
          <p:cNvSpPr txBox="1">
            <a:spLocks/>
          </p:cNvSpPr>
          <p:nvPr/>
        </p:nvSpPr>
        <p:spPr>
          <a:xfrm>
            <a:off x="4683126" y="1574801"/>
            <a:ext cx="7158354" cy="1493520"/>
          </a:xfrm>
          <a:prstGeom prst="rect">
            <a:avLst/>
          </a:prstGeom>
        </p:spPr>
        <p:txBody>
          <a:bodyPr/>
          <a:lstStyle>
            <a:lvl1pPr marL="365125" indent="-365125" algn="l" defTabSz="379337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577850" indent="-2032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System Font Regular"/>
              <a:buChar char="◦"/>
              <a:tabLst/>
              <a:defRPr sz="16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1688" indent="-2032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System Font Regular"/>
              <a:buChar char="–"/>
              <a:tabLst/>
              <a:defRPr sz="14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974725" indent="-1524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085850" indent="-111125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Courier New" panose="02070309020205020404" pitchFamily="49" charset="0"/>
              <a:buChar char="o"/>
              <a:tabLst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2121" indent="0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None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7756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8181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605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err="1"/>
              <a:t>Tarlatamab</a:t>
            </a:r>
            <a:r>
              <a:rPr lang="de-DE"/>
              <a:t> zielt ab auf die parallele Bindung von:</a:t>
            </a:r>
            <a:r>
              <a:rPr lang="de-DE" baseline="30000"/>
              <a:t>1</a:t>
            </a:r>
            <a:r>
              <a:rPr lang="en-US"/>
              <a:t>​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/>
              <a:t>DLL3 auf der Oberfläche von SCLC-Zellen</a:t>
            </a:r>
            <a:r>
              <a:rPr lang="de-DE" baseline="30000"/>
              <a:t>2</a:t>
            </a:r>
            <a:r>
              <a:rPr lang="en-US"/>
              <a:t>​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/>
              <a:t>CD3 auf der Oberfläche von T-Zellen</a:t>
            </a:r>
            <a:endParaRPr lang="en-US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9BD78D0B-B7E0-683D-5B9C-F14E3C6DA520}"/>
              </a:ext>
            </a:extLst>
          </p:cNvPr>
          <p:cNvSpPr txBox="1"/>
          <p:nvPr/>
        </p:nvSpPr>
        <p:spPr>
          <a:xfrm>
            <a:off x="5069257" y="5689600"/>
            <a:ext cx="6096000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de-DE" sz="800">
                <a:latin typeface="+mn-lt"/>
              </a:rPr>
              <a:t>CD3: Cluster </a:t>
            </a:r>
            <a:r>
              <a:rPr lang="de-DE" sz="800" err="1">
                <a:latin typeface="+mn-lt"/>
              </a:rPr>
              <a:t>of</a:t>
            </a:r>
            <a:r>
              <a:rPr lang="de-DE" sz="800">
                <a:latin typeface="+mn-lt"/>
              </a:rPr>
              <a:t> </a:t>
            </a:r>
            <a:r>
              <a:rPr lang="de-DE" sz="800" err="1">
                <a:latin typeface="+mn-lt"/>
              </a:rPr>
              <a:t>differentiation</a:t>
            </a:r>
            <a:r>
              <a:rPr lang="de-DE" sz="800">
                <a:latin typeface="+mn-lt"/>
              </a:rPr>
              <a:t> 3; DLL3: Delta-like 3; SCLC: </a:t>
            </a:r>
            <a:r>
              <a:rPr lang="de-DE" sz="800" err="1">
                <a:latin typeface="+mn-lt"/>
              </a:rPr>
              <a:t>small</a:t>
            </a:r>
            <a:r>
              <a:rPr lang="de-DE" sz="800">
                <a:latin typeface="+mn-lt"/>
              </a:rPr>
              <a:t> </a:t>
            </a:r>
            <a:r>
              <a:rPr lang="de-DE" sz="800" err="1">
                <a:latin typeface="+mn-lt"/>
              </a:rPr>
              <a:t>cell</a:t>
            </a:r>
            <a:r>
              <a:rPr lang="de-DE" sz="800">
                <a:latin typeface="+mn-lt"/>
              </a:rPr>
              <a:t> </a:t>
            </a:r>
            <a:r>
              <a:rPr lang="de-DE" sz="800" err="1">
                <a:latin typeface="+mn-lt"/>
              </a:rPr>
              <a:t>lung</a:t>
            </a:r>
            <a:r>
              <a:rPr lang="de-DE" sz="800">
                <a:latin typeface="+mn-lt"/>
              </a:rPr>
              <a:t> </a:t>
            </a:r>
            <a:r>
              <a:rPr lang="de-DE" sz="800" err="1">
                <a:latin typeface="+mn-lt"/>
              </a:rPr>
              <a:t>cancer</a:t>
            </a:r>
            <a:r>
              <a:rPr lang="de-DE" sz="800">
                <a:latin typeface="+mn-lt"/>
              </a:rPr>
              <a:t> </a:t>
            </a:r>
            <a:r>
              <a:rPr lang="en-US" sz="800">
                <a:latin typeface="+mn-lt"/>
              </a:rPr>
              <a:t> </a:t>
            </a:r>
          </a:p>
          <a:p>
            <a:r>
              <a:rPr lang="en-US" sz="800">
                <a:latin typeface="+mn-lt"/>
              </a:rPr>
              <a:t>1. </a:t>
            </a:r>
            <a:r>
              <a:rPr lang="de-DE" sz="800">
                <a:latin typeface="+mn-lt"/>
              </a:rPr>
              <a:t>Wolf E, et al. Drug </a:t>
            </a:r>
            <a:r>
              <a:rPr lang="de-DE" sz="800" err="1">
                <a:latin typeface="+mn-lt"/>
              </a:rPr>
              <a:t>Discov</a:t>
            </a:r>
            <a:r>
              <a:rPr lang="de-DE" sz="800">
                <a:latin typeface="+mn-lt"/>
              </a:rPr>
              <a:t> Today. 2005 Sep 15;10(18):1237-44. </a:t>
            </a:r>
            <a:r>
              <a:rPr lang="de-DE" sz="800" err="1">
                <a:latin typeface="+mn-lt"/>
              </a:rPr>
              <a:t>doi</a:t>
            </a:r>
            <a:r>
              <a:rPr lang="de-DE" sz="800">
                <a:latin typeface="+mn-lt"/>
              </a:rPr>
              <a:t>: 10.1016/S1359-6446(05)03554-3. </a:t>
            </a:r>
            <a:br>
              <a:rPr lang="de-DE" sz="800">
                <a:latin typeface="+mn-lt"/>
              </a:rPr>
            </a:br>
            <a:r>
              <a:rPr lang="de-DE" sz="800">
                <a:latin typeface="+mn-lt"/>
              </a:rPr>
              <a:t>2. Owen DH, et al. J </a:t>
            </a:r>
            <a:r>
              <a:rPr lang="de-DE" sz="800" err="1">
                <a:latin typeface="+mn-lt"/>
              </a:rPr>
              <a:t>Hematol</a:t>
            </a:r>
            <a:r>
              <a:rPr lang="de-DE" sz="800">
                <a:latin typeface="+mn-lt"/>
              </a:rPr>
              <a:t> </a:t>
            </a:r>
            <a:r>
              <a:rPr lang="de-DE" sz="800" err="1">
                <a:latin typeface="+mn-lt"/>
              </a:rPr>
              <a:t>Oncol</a:t>
            </a:r>
            <a:r>
              <a:rPr lang="de-DE" sz="800">
                <a:latin typeface="+mn-lt"/>
              </a:rPr>
              <a:t>. 2019 Jun 18;12(1):61.</a:t>
            </a:r>
            <a:endParaRPr lang="en-US" sz="800">
              <a:latin typeface="+mn-lt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A97B271-E754-D7E3-CF81-102E68EF0CF0}"/>
              </a:ext>
            </a:extLst>
          </p:cNvPr>
          <p:cNvSpPr txBox="1">
            <a:spLocks/>
          </p:cNvSpPr>
          <p:nvPr/>
        </p:nvSpPr>
        <p:spPr>
          <a:xfrm>
            <a:off x="4683126" y="352970"/>
            <a:ext cx="7183175" cy="780055"/>
          </a:xfrm>
          <a:prstGeom prst="rect">
            <a:avLst/>
          </a:prstGeom>
        </p:spPr>
        <p:txBody>
          <a:bodyPr anchor="ctr"/>
          <a:lstStyle>
            <a:lvl1pPr algn="l" defTabSz="379337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800" b="1" i="0" kern="1200" cap="none">
                <a:solidFill>
                  <a:schemeClr val="accent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2pPr>
            <a:lvl3pPr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3pPr>
            <a:lvl4pPr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4pPr>
            <a:lvl5pPr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5pPr>
            <a:lvl6pPr marL="457109"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6pPr>
            <a:lvl7pPr marL="914217"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7pPr>
            <a:lvl8pPr marL="1371326"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8pPr>
            <a:lvl9pPr marL="1828434"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9pPr>
          </a:lstStyle>
          <a:p>
            <a:r>
              <a:rPr lang="de-DE" sz="1400">
                <a:solidFill>
                  <a:schemeClr val="tx1"/>
                </a:solidFill>
              </a:rPr>
              <a:t>TARLATAMAB WIRKMECHANISMUS </a:t>
            </a:r>
          </a:p>
          <a:p>
            <a:r>
              <a:rPr lang="de-DE"/>
              <a:t>Binden</a:t>
            </a:r>
          </a:p>
        </p:txBody>
      </p:sp>
    </p:spTree>
    <p:extLst>
      <p:ext uri="{BB962C8B-B14F-4D97-AF65-F5344CB8AC3E}">
        <p14:creationId xmlns:p14="http://schemas.microsoft.com/office/powerpoint/2010/main" val="388181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833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050B4D-0299-B736-4A25-5252F14BA6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mgenTarlatamab_Aktivieren">
            <a:hlinkClick r:id="" action="ppaction://media"/>
            <a:extLst>
              <a:ext uri="{FF2B5EF4-FFF2-40B4-BE49-F238E27FC236}">
                <a16:creationId xmlns:a16="http://schemas.microsoft.com/office/drawing/2014/main" id="{376159FF-E79F-F8F7-B842-9A608524CB7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6350000" cy="6858000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5C14EE12-A2DA-F00F-318A-184E21B8E081}"/>
              </a:ext>
            </a:extLst>
          </p:cNvPr>
          <p:cNvGrpSpPr/>
          <p:nvPr/>
        </p:nvGrpSpPr>
        <p:grpSpPr>
          <a:xfrm>
            <a:off x="4217579" y="494404"/>
            <a:ext cx="454754" cy="454755"/>
            <a:chOff x="4310121" y="630499"/>
            <a:chExt cx="600075" cy="600076"/>
          </a:xfrm>
        </p:grpSpPr>
        <p:sp>
          <p:nvSpPr>
            <p:cNvPr id="5" name="Ellipse 4">
              <a:extLst>
                <a:ext uri="{FF2B5EF4-FFF2-40B4-BE49-F238E27FC236}">
                  <a16:creationId xmlns:a16="http://schemas.microsoft.com/office/drawing/2014/main" id="{EB57C41A-6670-DC07-FCE5-7474893EBD20}"/>
                </a:ext>
              </a:extLst>
            </p:cNvPr>
            <p:cNvSpPr/>
            <p:nvPr/>
          </p:nvSpPr>
          <p:spPr>
            <a:xfrm>
              <a:off x="4310121" y="630499"/>
              <a:ext cx="600075" cy="600076"/>
            </a:xfrm>
            <a:prstGeom prst="ellipse">
              <a:avLst/>
            </a:prstGeom>
            <a:solidFill>
              <a:schemeClr val="accent1"/>
            </a:solidFill>
            <a:ln w="19050" cap="flat">
              <a:solidFill>
                <a:schemeClr val="bg1"/>
              </a:solidFill>
              <a:prstDash val="solid"/>
              <a:miter/>
            </a:ln>
          </p:spPr>
          <p:txBody>
            <a:bodyPr wrap="square" tIns="91440" bIns="91440" rtlCol="0" anchor="ctr">
              <a:spAutoFit/>
            </a:bodyPr>
            <a:lstStyle/>
            <a:p>
              <a:pPr algn="l">
                <a:spcBef>
                  <a:spcPts val="0"/>
                </a:spcBef>
              </a:pPr>
              <a:endParaRPr lang="de-DE" sz="1400">
                <a:latin typeface="+mn-lt"/>
              </a:endParaRPr>
            </a:p>
          </p:txBody>
        </p: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ACBA0171-6A6F-E95A-2FA8-9055E606BE25}"/>
                </a:ext>
              </a:extLst>
            </p:cNvPr>
            <p:cNvSpPr txBox="1"/>
            <p:nvPr/>
          </p:nvSpPr>
          <p:spPr>
            <a:xfrm>
              <a:off x="4316977" y="684031"/>
              <a:ext cx="593219" cy="4873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b="1">
                  <a:solidFill>
                    <a:schemeClr val="bg1"/>
                  </a:solidFill>
                  <a:latin typeface="+mn-lt"/>
                </a:rPr>
                <a:t>2</a:t>
              </a:r>
            </a:p>
          </p:txBody>
        </p:sp>
      </p:grpSp>
      <p:sp>
        <p:nvSpPr>
          <p:cNvPr id="9" name="Rechteck 8">
            <a:extLst>
              <a:ext uri="{FF2B5EF4-FFF2-40B4-BE49-F238E27FC236}">
                <a16:creationId xmlns:a16="http://schemas.microsoft.com/office/drawing/2014/main" id="{5E7B52DE-F62E-254E-67B5-8ACC568834EF}"/>
              </a:ext>
            </a:extLst>
          </p:cNvPr>
          <p:cNvSpPr/>
          <p:nvPr/>
        </p:nvSpPr>
        <p:spPr>
          <a:xfrm>
            <a:off x="5518800" y="1800"/>
            <a:ext cx="1639517" cy="6853958"/>
          </a:xfrm>
          <a:prstGeom prst="rect">
            <a:avLst/>
          </a:pr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wrap="square" tIns="91440" bIns="91440" rtlCol="0" anchor="ctr">
            <a:spAutoFit/>
          </a:bodyPr>
          <a:lstStyle/>
          <a:p>
            <a:pPr algn="l">
              <a:spcBef>
                <a:spcPts val="0"/>
              </a:spcBef>
            </a:pPr>
            <a:endParaRPr lang="de-DE" sz="1400">
              <a:latin typeface="+mn-lt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817F5D0-0600-CCE3-0AE4-CBC96C0C967A}"/>
              </a:ext>
            </a:extLst>
          </p:cNvPr>
          <p:cNvSpPr txBox="1">
            <a:spLocks/>
          </p:cNvSpPr>
          <p:nvPr/>
        </p:nvSpPr>
        <p:spPr>
          <a:xfrm>
            <a:off x="4683126" y="1574801"/>
            <a:ext cx="7158354" cy="1493520"/>
          </a:xfrm>
          <a:prstGeom prst="rect">
            <a:avLst/>
          </a:prstGeom>
        </p:spPr>
        <p:txBody>
          <a:bodyPr/>
          <a:lstStyle>
            <a:lvl1pPr marL="365125" indent="-365125" algn="l" defTabSz="379337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577850" indent="-2032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System Font Regular"/>
              <a:buChar char="◦"/>
              <a:tabLst/>
              <a:defRPr sz="16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1688" indent="-2032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System Font Regular"/>
              <a:buChar char="–"/>
              <a:tabLst/>
              <a:defRPr sz="14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974725" indent="-1524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085850" indent="-111125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Courier New" panose="02070309020205020404" pitchFamily="49" charset="0"/>
              <a:buChar char="o"/>
              <a:tabLst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2121" indent="0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None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7756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8181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605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Bildung einer lytischen Synapse zwischen:</a:t>
            </a:r>
            <a:r>
              <a:rPr lang="de-DE" baseline="30000"/>
              <a:t>1</a:t>
            </a:r>
            <a:r>
              <a:rPr lang="en-US"/>
              <a:t>​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/>
              <a:t>T-Zelle</a:t>
            </a:r>
            <a:r>
              <a:rPr lang="en-US"/>
              <a:t>​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/>
              <a:t>SCLC-Zelle</a:t>
            </a:r>
            <a:r>
              <a:rPr lang="en-US"/>
              <a:t>​</a:t>
            </a:r>
          </a:p>
          <a:p>
            <a:r>
              <a:rPr lang="de-DE"/>
              <a:t>Folge ist die Aktivierung der T-Zelle</a:t>
            </a:r>
            <a:r>
              <a:rPr lang="de-DE" baseline="30000"/>
              <a:t>1</a:t>
            </a:r>
            <a:r>
              <a:rPr lang="en-US"/>
              <a:t>​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72F5A13-9FC7-BBF7-4D96-1D6B2ECC595D}"/>
              </a:ext>
            </a:extLst>
          </p:cNvPr>
          <p:cNvSpPr txBox="1"/>
          <p:nvPr/>
        </p:nvSpPr>
        <p:spPr>
          <a:xfrm>
            <a:off x="5069257" y="5689600"/>
            <a:ext cx="6096000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de-DE" sz="800">
                <a:latin typeface="+mn-lt"/>
              </a:rPr>
              <a:t>SCLC: </a:t>
            </a:r>
            <a:r>
              <a:rPr lang="de-DE" sz="800" err="1">
                <a:latin typeface="+mn-lt"/>
              </a:rPr>
              <a:t>small</a:t>
            </a:r>
            <a:r>
              <a:rPr lang="de-DE" sz="800">
                <a:latin typeface="+mn-lt"/>
              </a:rPr>
              <a:t> </a:t>
            </a:r>
            <a:r>
              <a:rPr lang="de-DE" sz="800" err="1">
                <a:latin typeface="+mn-lt"/>
              </a:rPr>
              <a:t>cell</a:t>
            </a:r>
            <a:r>
              <a:rPr lang="de-DE" sz="800">
                <a:latin typeface="+mn-lt"/>
              </a:rPr>
              <a:t> </a:t>
            </a:r>
            <a:r>
              <a:rPr lang="de-DE" sz="800" err="1">
                <a:latin typeface="+mn-lt"/>
              </a:rPr>
              <a:t>lung</a:t>
            </a:r>
            <a:r>
              <a:rPr lang="de-DE" sz="800">
                <a:latin typeface="+mn-lt"/>
              </a:rPr>
              <a:t> </a:t>
            </a:r>
            <a:r>
              <a:rPr lang="de-DE" sz="800" err="1">
                <a:latin typeface="+mn-lt"/>
              </a:rPr>
              <a:t>cancer</a:t>
            </a:r>
            <a:r>
              <a:rPr lang="de-DE" sz="800">
                <a:latin typeface="+mn-lt"/>
              </a:rPr>
              <a:t> </a:t>
            </a:r>
            <a:endParaRPr lang="en-US" sz="800">
              <a:latin typeface="+mn-lt"/>
            </a:endParaRPr>
          </a:p>
          <a:p>
            <a:r>
              <a:rPr lang="en-US" sz="800">
                <a:latin typeface="+mn-lt"/>
              </a:rPr>
              <a:t>1. </a:t>
            </a:r>
            <a:r>
              <a:rPr lang="de-DE" sz="800">
                <a:latin typeface="+mn-lt"/>
              </a:rPr>
              <a:t>Wolf E, et al. Drug </a:t>
            </a:r>
            <a:r>
              <a:rPr lang="de-DE" sz="800" err="1">
                <a:latin typeface="+mn-lt"/>
              </a:rPr>
              <a:t>Discov</a:t>
            </a:r>
            <a:r>
              <a:rPr lang="de-DE" sz="800">
                <a:latin typeface="+mn-lt"/>
              </a:rPr>
              <a:t> Today. 2005 Sep 15;10(18):1237-44. </a:t>
            </a:r>
            <a:r>
              <a:rPr lang="de-DE" sz="800" err="1">
                <a:latin typeface="+mn-lt"/>
              </a:rPr>
              <a:t>doi</a:t>
            </a:r>
            <a:r>
              <a:rPr lang="de-DE" sz="800">
                <a:latin typeface="+mn-lt"/>
              </a:rPr>
              <a:t>: 10.1016/S1359-6446(05)03554-3.</a:t>
            </a:r>
            <a:endParaRPr lang="en-US" sz="80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B1017D-EC2E-2041-EF28-6D2325746920}"/>
              </a:ext>
            </a:extLst>
          </p:cNvPr>
          <p:cNvSpPr txBox="1">
            <a:spLocks/>
          </p:cNvSpPr>
          <p:nvPr/>
        </p:nvSpPr>
        <p:spPr>
          <a:xfrm>
            <a:off x="4683126" y="352970"/>
            <a:ext cx="7183175" cy="780055"/>
          </a:xfrm>
          <a:prstGeom prst="rect">
            <a:avLst/>
          </a:prstGeom>
        </p:spPr>
        <p:txBody>
          <a:bodyPr anchor="ctr"/>
          <a:lstStyle>
            <a:lvl1pPr algn="l" defTabSz="379337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800" b="1" i="0" kern="1200" cap="none">
                <a:solidFill>
                  <a:schemeClr val="accent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2pPr>
            <a:lvl3pPr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3pPr>
            <a:lvl4pPr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4pPr>
            <a:lvl5pPr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5pPr>
            <a:lvl6pPr marL="457109"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6pPr>
            <a:lvl7pPr marL="914217"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7pPr>
            <a:lvl8pPr marL="1371326"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8pPr>
            <a:lvl9pPr marL="1828434"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9pPr>
          </a:lstStyle>
          <a:p>
            <a:r>
              <a:rPr lang="de-DE" sz="1400">
                <a:solidFill>
                  <a:schemeClr val="tx1"/>
                </a:solidFill>
              </a:rPr>
              <a:t>TARLATAMAB WIRKMECHANISMUS </a:t>
            </a:r>
          </a:p>
          <a:p>
            <a:r>
              <a:rPr lang="de-DE"/>
              <a:t>Aktivieren</a:t>
            </a:r>
          </a:p>
        </p:txBody>
      </p:sp>
    </p:spTree>
    <p:extLst>
      <p:ext uri="{BB962C8B-B14F-4D97-AF65-F5344CB8AC3E}">
        <p14:creationId xmlns:p14="http://schemas.microsoft.com/office/powerpoint/2010/main" val="1346483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54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1ADD53-37B1-9857-8233-E1A835648B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mgenTarlatamab_Angreifen_neu">
            <a:hlinkClick r:id="" action="ppaction://media"/>
            <a:extLst>
              <a:ext uri="{FF2B5EF4-FFF2-40B4-BE49-F238E27FC236}">
                <a16:creationId xmlns:a16="http://schemas.microsoft.com/office/drawing/2014/main" id="{0EDB6CBD-3687-773C-FE3E-3EB1ABDD384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317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6F12AB0-FB86-44C8-7CB3-3BD7A9BF4B86}"/>
              </a:ext>
            </a:extLst>
          </p:cNvPr>
          <p:cNvSpPr txBox="1">
            <a:spLocks/>
          </p:cNvSpPr>
          <p:nvPr/>
        </p:nvSpPr>
        <p:spPr>
          <a:xfrm>
            <a:off x="4683126" y="1574800"/>
            <a:ext cx="7158354" cy="3765549"/>
          </a:xfrm>
          <a:prstGeom prst="rect">
            <a:avLst/>
          </a:prstGeom>
        </p:spPr>
        <p:txBody>
          <a:bodyPr/>
          <a:lstStyle>
            <a:lvl1pPr marL="365125" indent="-365125" algn="l" defTabSz="379337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577850" indent="-2032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System Font Regular"/>
              <a:buChar char="◦"/>
              <a:tabLst/>
              <a:defRPr sz="16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01688" indent="-2032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System Font Regular"/>
              <a:buChar char="–"/>
              <a:tabLst/>
              <a:defRPr sz="1400" b="0" kern="1200" spc="1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974725" indent="-152400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085850" indent="-111125" algn="l" defTabSz="379337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Courier New" panose="02070309020205020404" pitchFamily="49" charset="0"/>
              <a:buChar char="o"/>
              <a:tabLst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2121" indent="0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None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7756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8181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605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Die Aktivierung der T-Zelle bewirkt:</a:t>
            </a:r>
            <a:r>
              <a:rPr lang="de-DE" baseline="30000"/>
              <a:t>1</a:t>
            </a:r>
            <a:r>
              <a:rPr lang="en-US"/>
              <a:t>​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/>
              <a:t>Freisetzung von Granula mit </a:t>
            </a:r>
            <a:r>
              <a:rPr lang="de-DE" err="1"/>
              <a:t>Perforinen</a:t>
            </a:r>
            <a:r>
              <a:rPr lang="de-DE"/>
              <a:t> und </a:t>
            </a:r>
            <a:r>
              <a:rPr lang="de-DE" err="1"/>
              <a:t>Granzymen</a:t>
            </a:r>
            <a:r>
              <a:rPr lang="de-DE"/>
              <a:t>​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/>
              <a:t>Vermehrung der T-Zellen durch Zellteilung</a:t>
            </a:r>
            <a:r>
              <a:rPr lang="en-US"/>
              <a:t>​</a:t>
            </a:r>
          </a:p>
          <a:p>
            <a:r>
              <a:rPr lang="de-DE" err="1"/>
              <a:t>Perforine</a:t>
            </a:r>
            <a:r>
              <a:rPr lang="de-DE"/>
              <a:t>​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/>
              <a:t>Einlagerung in Membran der SCLC-Zelle</a:t>
            </a:r>
            <a:r>
              <a:rPr lang="en-US"/>
              <a:t>​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/>
              <a:t>Fungieren als Schleusen für </a:t>
            </a:r>
            <a:r>
              <a:rPr lang="de-DE" err="1"/>
              <a:t>Granzyme</a:t>
            </a:r>
            <a:r>
              <a:rPr lang="de-DE"/>
              <a:t>​</a:t>
            </a:r>
          </a:p>
          <a:p>
            <a:r>
              <a:rPr lang="de-DE" err="1"/>
              <a:t>Granzyme</a:t>
            </a:r>
            <a:r>
              <a:rPr lang="de-DE"/>
              <a:t>​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/>
              <a:t>Dringen in SCLC-Zelle ein</a:t>
            </a:r>
            <a:r>
              <a:rPr lang="en-US"/>
              <a:t>​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/>
              <a:t>Bewirken Lyse der DLL3-exprimierenden SCLC-Zellen</a:t>
            </a:r>
            <a:r>
              <a:rPr lang="en-US"/>
              <a:t>​</a:t>
            </a:r>
          </a:p>
          <a:p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1479840-4BBF-8997-70EC-4CACAC5E5B38}"/>
              </a:ext>
            </a:extLst>
          </p:cNvPr>
          <p:cNvSpPr txBox="1"/>
          <p:nvPr/>
        </p:nvSpPr>
        <p:spPr>
          <a:xfrm>
            <a:off x="5069257" y="5689600"/>
            <a:ext cx="6096000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de-DE" sz="800">
                <a:latin typeface="+mn-lt"/>
              </a:rPr>
              <a:t>DLL3: Delta-like 3; SCLC: </a:t>
            </a:r>
            <a:r>
              <a:rPr lang="de-DE" sz="800" err="1">
                <a:latin typeface="+mn-lt"/>
              </a:rPr>
              <a:t>small</a:t>
            </a:r>
            <a:r>
              <a:rPr lang="de-DE" sz="800">
                <a:latin typeface="+mn-lt"/>
              </a:rPr>
              <a:t> </a:t>
            </a:r>
            <a:r>
              <a:rPr lang="de-DE" sz="800" err="1">
                <a:latin typeface="+mn-lt"/>
              </a:rPr>
              <a:t>cell</a:t>
            </a:r>
            <a:r>
              <a:rPr lang="de-DE" sz="800">
                <a:latin typeface="+mn-lt"/>
              </a:rPr>
              <a:t> </a:t>
            </a:r>
            <a:r>
              <a:rPr lang="de-DE" sz="800" err="1">
                <a:latin typeface="+mn-lt"/>
              </a:rPr>
              <a:t>lung</a:t>
            </a:r>
            <a:r>
              <a:rPr lang="de-DE" sz="800">
                <a:latin typeface="+mn-lt"/>
              </a:rPr>
              <a:t> </a:t>
            </a:r>
            <a:r>
              <a:rPr lang="de-DE" sz="800" err="1">
                <a:latin typeface="+mn-lt"/>
              </a:rPr>
              <a:t>cancer</a:t>
            </a:r>
            <a:r>
              <a:rPr lang="de-DE" sz="800">
                <a:latin typeface="+mn-lt"/>
              </a:rPr>
              <a:t> </a:t>
            </a:r>
            <a:endParaRPr lang="en-US" sz="800">
              <a:latin typeface="+mn-lt"/>
            </a:endParaRPr>
          </a:p>
          <a:p>
            <a:r>
              <a:rPr lang="en-US" sz="800">
                <a:latin typeface="+mn-lt"/>
              </a:rPr>
              <a:t>1. </a:t>
            </a:r>
            <a:r>
              <a:rPr lang="de-DE" sz="800">
                <a:latin typeface="+mn-lt"/>
              </a:rPr>
              <a:t>Wolf E, et al. Drug </a:t>
            </a:r>
            <a:r>
              <a:rPr lang="de-DE" sz="800" err="1">
                <a:latin typeface="+mn-lt"/>
              </a:rPr>
              <a:t>Discov</a:t>
            </a:r>
            <a:r>
              <a:rPr lang="de-DE" sz="800">
                <a:latin typeface="+mn-lt"/>
              </a:rPr>
              <a:t> Today. 2005 Sep 15;10(18):1237-44. </a:t>
            </a:r>
            <a:r>
              <a:rPr lang="de-DE" sz="800" err="1">
                <a:latin typeface="+mn-lt"/>
              </a:rPr>
              <a:t>doi</a:t>
            </a:r>
            <a:r>
              <a:rPr lang="de-DE" sz="800">
                <a:latin typeface="+mn-lt"/>
              </a:rPr>
              <a:t>: 10.1016/S1359-6446(05)03554-3.</a:t>
            </a:r>
            <a:endParaRPr lang="en-US" sz="80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1C7FD0-344C-2DB6-F517-DECAA86D9075}"/>
              </a:ext>
            </a:extLst>
          </p:cNvPr>
          <p:cNvSpPr txBox="1">
            <a:spLocks/>
          </p:cNvSpPr>
          <p:nvPr/>
        </p:nvSpPr>
        <p:spPr>
          <a:xfrm>
            <a:off x="4683126" y="352970"/>
            <a:ext cx="7183175" cy="780055"/>
          </a:xfrm>
          <a:prstGeom prst="rect">
            <a:avLst/>
          </a:prstGeom>
        </p:spPr>
        <p:txBody>
          <a:bodyPr anchor="ctr"/>
          <a:lstStyle>
            <a:lvl1pPr algn="l" defTabSz="379337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800" b="1" i="0" kern="1200" cap="none">
                <a:solidFill>
                  <a:schemeClr val="accent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2pPr>
            <a:lvl3pPr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3pPr>
            <a:lvl4pPr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4pPr>
            <a:lvl5pPr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5pPr>
            <a:lvl6pPr marL="457109"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6pPr>
            <a:lvl7pPr marL="914217"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7pPr>
            <a:lvl8pPr marL="1371326"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8pPr>
            <a:lvl9pPr marL="1828434" algn="l" defTabSz="379337" rtl="0" eaLnBrk="1" fontAlgn="base" hangingPunct="1">
              <a:spcBef>
                <a:spcPct val="0"/>
              </a:spcBef>
              <a:spcAft>
                <a:spcPct val="0"/>
              </a:spcAft>
              <a:defRPr sz="3399" b="1">
                <a:solidFill>
                  <a:schemeClr val="accent1"/>
                </a:solidFill>
                <a:latin typeface="Calibri" panose="020F0502020204030204" pitchFamily="34" charset="0"/>
              </a:defRPr>
            </a:lvl9pPr>
          </a:lstStyle>
          <a:p>
            <a:r>
              <a:rPr lang="de-DE" sz="1400">
                <a:solidFill>
                  <a:schemeClr val="tx1"/>
                </a:solidFill>
              </a:rPr>
              <a:t>TARLATAMAB WIRKMECHANISMUS </a:t>
            </a:r>
          </a:p>
          <a:p>
            <a:r>
              <a:rPr lang="de-DE"/>
              <a:t>Angreifen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A6938BFB-0D5C-3BBD-8C99-BC9114005114}"/>
              </a:ext>
            </a:extLst>
          </p:cNvPr>
          <p:cNvGrpSpPr/>
          <p:nvPr/>
        </p:nvGrpSpPr>
        <p:grpSpPr>
          <a:xfrm>
            <a:off x="4217579" y="494404"/>
            <a:ext cx="454754" cy="454755"/>
            <a:chOff x="4310121" y="630499"/>
            <a:chExt cx="600075" cy="600076"/>
          </a:xfrm>
        </p:grpSpPr>
        <p:sp>
          <p:nvSpPr>
            <p:cNvPr id="5" name="Ellipse 4">
              <a:extLst>
                <a:ext uri="{FF2B5EF4-FFF2-40B4-BE49-F238E27FC236}">
                  <a16:creationId xmlns:a16="http://schemas.microsoft.com/office/drawing/2014/main" id="{2C58124A-82E6-E1CE-AA92-CCF3ECCCD6C3}"/>
                </a:ext>
              </a:extLst>
            </p:cNvPr>
            <p:cNvSpPr/>
            <p:nvPr/>
          </p:nvSpPr>
          <p:spPr>
            <a:xfrm>
              <a:off x="4310121" y="630499"/>
              <a:ext cx="600075" cy="600076"/>
            </a:xfrm>
            <a:prstGeom prst="ellipse">
              <a:avLst/>
            </a:prstGeom>
            <a:solidFill>
              <a:schemeClr val="accent1"/>
            </a:solidFill>
            <a:ln w="19050" cap="flat">
              <a:solidFill>
                <a:schemeClr val="bg1"/>
              </a:solidFill>
              <a:prstDash val="solid"/>
              <a:miter/>
            </a:ln>
          </p:spPr>
          <p:txBody>
            <a:bodyPr wrap="square" tIns="91440" bIns="91440" rtlCol="0" anchor="ctr">
              <a:spAutoFit/>
            </a:bodyPr>
            <a:lstStyle/>
            <a:p>
              <a:pPr algn="l">
                <a:spcBef>
                  <a:spcPts val="0"/>
                </a:spcBef>
              </a:pPr>
              <a:endParaRPr lang="de-DE" sz="1400">
                <a:latin typeface="+mn-lt"/>
              </a:endParaRPr>
            </a:p>
          </p:txBody>
        </p: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993D9530-0B67-EB7C-1C5F-DF6B4C28BB98}"/>
                </a:ext>
              </a:extLst>
            </p:cNvPr>
            <p:cNvSpPr txBox="1"/>
            <p:nvPr/>
          </p:nvSpPr>
          <p:spPr>
            <a:xfrm>
              <a:off x="4316977" y="684031"/>
              <a:ext cx="593219" cy="4873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b="1">
                  <a:solidFill>
                    <a:schemeClr val="bg1"/>
                  </a:solidFill>
                  <a:latin typeface="+mn-lt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65814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6958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54236AD-1BD5-2C91-3B57-8168609A9F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9220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4236AD-1BD5-2C91-3B57-8168609A9F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58974974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mgen Corporate">
  <a:themeElements>
    <a:clrScheme name="Amgen Corporate">
      <a:dk1>
        <a:srgbClr val="000000"/>
      </a:dk1>
      <a:lt1>
        <a:srgbClr val="FFFFFF"/>
      </a:lt1>
      <a:dk2>
        <a:srgbClr val="605D75"/>
      </a:dk2>
      <a:lt2>
        <a:srgbClr val="ADADAD"/>
      </a:lt2>
      <a:accent1>
        <a:srgbClr val="0063C3"/>
      </a:accent1>
      <a:accent2>
        <a:srgbClr val="00BCE4"/>
      </a:accent2>
      <a:accent3>
        <a:srgbClr val="7EE0DD"/>
      </a:accent3>
      <a:accent4>
        <a:srgbClr val="2CC84D"/>
      </a:accent4>
      <a:accent5>
        <a:srgbClr val="FEDD00"/>
      </a:accent5>
      <a:accent6>
        <a:srgbClr val="FF6720"/>
      </a:accent6>
      <a:hlink>
        <a:srgbClr val="151F6D"/>
      </a:hlink>
      <a:folHlink>
        <a:srgbClr val="830B5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FEFEF"/>
        </a:solidFill>
        <a:ln w="12700" cap="flat">
          <a:noFill/>
          <a:prstDash val="solid"/>
          <a:miter/>
        </a:ln>
      </a:spPr>
      <a:bodyPr wrap="square" tIns="91440" bIns="91440" rtlCol="0" anchor="ctr">
        <a:spAutoFit/>
      </a:bodyPr>
      <a:lstStyle>
        <a:defPPr algn="l">
          <a:spcBef>
            <a:spcPts val="0"/>
          </a:spcBef>
          <a:defRPr sz="1400" dirty="0">
            <a:latin typeface="+mn-lt"/>
          </a:defRPr>
        </a:defPPr>
      </a:lstStyle>
    </a:spDef>
    <a:lnDef>
      <a:spPr>
        <a:ln w="12700" cap="rnd">
          <a:solidFill>
            <a:schemeClr val="accent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10000"/>
          </a:lnSpc>
          <a:spcBef>
            <a:spcPts val="0"/>
          </a:spcBef>
          <a:spcAft>
            <a:spcPts val="0"/>
          </a:spcAft>
          <a:defRPr dirty="0" err="1" smtClean="0">
            <a:latin typeface="+mn-lt"/>
            <a:ea typeface="MS Mincho" panose="02020609040205080304" pitchFamily="49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6B3973A-7F49-7842-8EF7-B9013EA88BE3}" vid="{5B3AB6DF-FA44-BC46-BE9D-676C0529C038}"/>
    </a:ext>
  </a:extLst>
</a:theme>
</file>

<file path=ppt/theme/theme2.xml><?xml version="1.0" encoding="utf-8"?>
<a:theme xmlns:a="http://schemas.openxmlformats.org/drawingml/2006/main" name="3_Custom Design">
  <a:themeElements>
    <a:clrScheme name="Amgen CI 2023">
      <a:dk1>
        <a:srgbClr val="736E73"/>
      </a:dk1>
      <a:lt1>
        <a:srgbClr val="FFFFFF"/>
      </a:lt1>
      <a:dk2>
        <a:srgbClr val="000000"/>
      </a:dk2>
      <a:lt2>
        <a:srgbClr val="FFFFFF"/>
      </a:lt2>
      <a:accent1>
        <a:srgbClr val="0063C3"/>
      </a:accent1>
      <a:accent2>
        <a:srgbClr val="00BCE4"/>
      </a:accent2>
      <a:accent3>
        <a:srgbClr val="7EE0DD"/>
      </a:accent3>
      <a:accent4>
        <a:srgbClr val="2CC84D"/>
      </a:accent4>
      <a:accent5>
        <a:srgbClr val="8899AA"/>
      </a:accent5>
      <a:accent6>
        <a:srgbClr val="ADADAD"/>
      </a:accent6>
      <a:hlink>
        <a:srgbClr val="151F6D"/>
      </a:hlink>
      <a:folHlink>
        <a:srgbClr val="840B5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71949ac-139d-4ba9-b71b-10956bd5632c">
      <Terms xmlns="http://schemas.microsoft.com/office/infopath/2007/PartnerControls"/>
    </lcf76f155ced4ddcb4097134ff3c332f>
    <ArchiverLinkFileType xmlns="f71949ac-139d-4ba9-b71b-10956bd5632c" xsi:nil="true"/>
    <TaxCatchAll xmlns="dc2db4f8-0dc0-4834-9a51-1c3a49a46568" xsi:nil="true"/>
    <SharedWithUsers xmlns="a76fffe7-cd2d-4632-848f-f4fab42e453c">
      <UserInfo>
        <DisplayName/>
        <AccountId xsi:nil="true"/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051C8ED0B0934CBB70AA06BF789C51" ma:contentTypeVersion="41" ma:contentTypeDescription="Create a new document." ma:contentTypeScope="" ma:versionID="99d05f19f54a81d816e37389dfac88fc">
  <xsd:schema xmlns:xsd="http://www.w3.org/2001/XMLSchema" xmlns:xs="http://www.w3.org/2001/XMLSchema" xmlns:p="http://schemas.microsoft.com/office/2006/metadata/properties" xmlns:ns2="f71949ac-139d-4ba9-b71b-10956bd5632c" xmlns:ns3="a76fffe7-cd2d-4632-848f-f4fab42e453c" xmlns:ns4="dc2db4f8-0dc0-4834-9a51-1c3a49a46568" targetNamespace="http://schemas.microsoft.com/office/2006/metadata/properties" ma:root="true" ma:fieldsID="d771c515c4a7bcb763943016e4817d97" ns2:_="" ns3:_="" ns4:_="">
    <xsd:import namespace="f71949ac-139d-4ba9-b71b-10956bd5632c"/>
    <xsd:import namespace="a76fffe7-cd2d-4632-848f-f4fab42e453c"/>
    <xsd:import namespace="dc2db4f8-0dc0-4834-9a51-1c3a49a4656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MediaServiceSearchProperties" minOccurs="0"/>
                <xsd:element ref="ns2:ArchiverLinkFileTyp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1949ac-139d-4ba9-b71b-10956bd5632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c4dd9da6-50f7-440a-9788-2f68cc8af53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ArchiverLinkFileType" ma:index="26" nillable="true" ma:displayName="ArchiverLinkFileType" ma:hidden="true" ma:internalName="ArchiverLinkFileTyp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6fffe7-cd2d-4632-848f-f4fab42e453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2db4f8-0dc0-4834-9a51-1c3a49a46568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ec229f0-7080-4adc-9a12-c317d1c33825}" ma:internalName="TaxCatchAll" ma:showField="CatchAllData" ma:web="fa15be3e-fb01-4526-974f-3b160512d6a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8A0E520-F386-42DC-9CDB-652017CA933C}">
  <ds:schemaRefs>
    <ds:schemaRef ds:uri="a76fffe7-cd2d-4632-848f-f4fab42e453c"/>
    <ds:schemaRef ds:uri="http://purl.org/dc/dcmitype/"/>
    <ds:schemaRef ds:uri="f71949ac-139d-4ba9-b71b-10956bd5632c"/>
    <ds:schemaRef ds:uri="http://schemas.microsoft.com/office/2006/documentManagement/types"/>
    <ds:schemaRef ds:uri="dc2db4f8-0dc0-4834-9a51-1c3a49a46568"/>
    <ds:schemaRef ds:uri="http://www.w3.org/XML/1998/namespace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7128EB60-2366-4B71-8458-4B1CCE37A1C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851D93F-C487-480C-9F48-7A68F927ADAB}">
  <ds:schemaRefs>
    <ds:schemaRef ds:uri="a76fffe7-cd2d-4632-848f-f4fab42e453c"/>
    <ds:schemaRef ds:uri="dc2db4f8-0dc0-4834-9a51-1c3a49a46568"/>
    <ds:schemaRef ds:uri="f71949ac-139d-4ba9-b71b-10956bd5632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MG_TMP_CorpUse_CorpPPT</Template>
  <TotalTime>6</TotalTime>
  <Words>621</Words>
  <Application>Microsoft Office PowerPoint</Application>
  <PresentationFormat>Widescreen</PresentationFormat>
  <Paragraphs>75</Paragraphs>
  <Slides>8</Slides>
  <Notes>8</Notes>
  <HiddenSlides>0</HiddenSlides>
  <MMClips>4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System Font Regular</vt:lpstr>
      <vt:lpstr>MS PGothic</vt:lpstr>
      <vt:lpstr>Century Gothic</vt:lpstr>
      <vt:lpstr>Calibri</vt:lpstr>
      <vt:lpstr>Arial</vt:lpstr>
      <vt:lpstr>Georgia</vt:lpstr>
      <vt:lpstr>Courier New</vt:lpstr>
      <vt:lpstr>Amgen Corporate</vt:lpstr>
      <vt:lpstr>3_Custom Design</vt:lpstr>
      <vt:lpstr>think-cell Slide</vt:lpstr>
      <vt:lpstr>Tarlatamab Wirkmechanismus</vt:lpstr>
      <vt:lpstr>PowerPoint Presentation</vt:lpstr>
      <vt:lpstr>Tarlatamab – Innovation „Made in Europe“​</vt:lpstr>
      <vt:lpstr>Was macht Tarlatamab aus?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atjana Engels</dc:creator>
  <cp:lastModifiedBy>Pooja Tiwari</cp:lastModifiedBy>
  <cp:revision>7</cp:revision>
  <dcterms:created xsi:type="dcterms:W3CDTF">2025-03-18T09:56:13Z</dcterms:created>
  <dcterms:modified xsi:type="dcterms:W3CDTF">2026-05-22T16:32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051C8ED0B0934CBB70AA06BF789C51</vt:lpwstr>
  </property>
  <property fmtid="{D5CDD505-2E9C-101B-9397-08002B2CF9AE}" pid="3" name="pdobSourceCropLeft">
    <vt:r8>0</vt:r8>
  </property>
  <property fmtid="{D5CDD505-2E9C-101B-9397-08002B2CF9AE}" pid="4" name="pdobSourceCropBottom">
    <vt:r8>0</vt:r8>
  </property>
  <property fmtid="{D5CDD505-2E9C-101B-9397-08002B2CF9AE}" pid="5" name="pdobSourceCropTop">
    <vt:r8>0</vt:r8>
  </property>
  <property fmtid="{D5CDD505-2E9C-101B-9397-08002B2CF9AE}" pid="6" name="pdobSourceOriginalWidth">
    <vt:r8>0</vt:r8>
  </property>
  <property fmtid="{D5CDD505-2E9C-101B-9397-08002B2CF9AE}" pid="7" name="pdobSourceCropRight">
    <vt:r8>0</vt:r8>
  </property>
  <property fmtid="{D5CDD505-2E9C-101B-9397-08002B2CF9AE}" pid="8" name="pdobSourceOriginalHeight">
    <vt:r8>0</vt:r8>
  </property>
  <property fmtid="{D5CDD505-2E9C-101B-9397-08002B2CF9AE}" pid="9" name="pdobSourceWidth">
    <vt:r8>142.958511352539</vt:r8>
  </property>
  <property fmtid="{D5CDD505-2E9C-101B-9397-08002B2CF9AE}" pid="10" name="pstrSourceShapeName">
    <vt:lpwstr>Rectangle 9</vt:lpwstr>
  </property>
  <property fmtid="{D5CDD505-2E9C-101B-9397-08002B2CF9AE}" pid="11" name="pintSourceSlideIndex">
    <vt:i4>3</vt:i4>
  </property>
  <property fmtid="{D5CDD505-2E9C-101B-9397-08002B2CF9AE}" pid="12" name="pdobSourceLeft">
    <vt:r8>739.747924804687</vt:r8>
  </property>
  <property fmtid="{D5CDD505-2E9C-101B-9397-08002B2CF9AE}" pid="13" name="pdobSourceHeight">
    <vt:r8>29.5593700408936</vt:r8>
  </property>
  <property fmtid="{D5CDD505-2E9C-101B-9397-08002B2CF9AE}" pid="14" name="pdobSourceTop">
    <vt:r8>131.51188659668</vt:r8>
  </property>
  <property fmtid="{D5CDD505-2E9C-101B-9397-08002B2CF9AE}" pid="15" name="MediaServiceImageTags">
    <vt:lpwstr/>
  </property>
  <property fmtid="{D5CDD505-2E9C-101B-9397-08002B2CF9AE}" pid="16" name="Order">
    <vt:r8>6037100</vt:r8>
  </property>
  <property fmtid="{D5CDD505-2E9C-101B-9397-08002B2CF9AE}" pid="17" name="ComplianceAssetId">
    <vt:lpwstr/>
  </property>
  <property fmtid="{D5CDD505-2E9C-101B-9397-08002B2CF9AE}" pid="18" name="_ExtendedDescription">
    <vt:lpwstr/>
  </property>
  <property fmtid="{D5CDD505-2E9C-101B-9397-08002B2CF9AE}" pid="19" name="Status Unterschrift">
    <vt:lpwstr/>
  </property>
  <property fmtid="{D5CDD505-2E9C-101B-9397-08002B2CF9AE}" pid="20" name="SharedWithUsers">
    <vt:lpwstr/>
  </property>
  <property fmtid="{D5CDD505-2E9C-101B-9397-08002B2CF9AE}" pid="21" name="MSIP_Label_f31142f3-8099-46d1-8755-df3fda1ce27f_Enabled">
    <vt:lpwstr>true</vt:lpwstr>
  </property>
  <property fmtid="{D5CDD505-2E9C-101B-9397-08002B2CF9AE}" pid="22" name="MSIP_Label_f31142f3-8099-46d1-8755-df3fda1ce27f_SetDate">
    <vt:lpwstr>2026-03-24T08:16:18Z</vt:lpwstr>
  </property>
  <property fmtid="{D5CDD505-2E9C-101B-9397-08002B2CF9AE}" pid="23" name="MSIP_Label_f31142f3-8099-46d1-8755-df3fda1ce27f_Method">
    <vt:lpwstr>Privileged</vt:lpwstr>
  </property>
  <property fmtid="{D5CDD505-2E9C-101B-9397-08002B2CF9AE}" pid="24" name="MSIP_Label_f31142f3-8099-46d1-8755-df3fda1ce27f_Name">
    <vt:lpwstr>Public_</vt:lpwstr>
  </property>
  <property fmtid="{D5CDD505-2E9C-101B-9397-08002B2CF9AE}" pid="25" name="MSIP_Label_f31142f3-8099-46d1-8755-df3fda1ce27f_SiteId">
    <vt:lpwstr>4b4266a6-1368-41af-ad5a-59eb634f7ad8</vt:lpwstr>
  </property>
  <property fmtid="{D5CDD505-2E9C-101B-9397-08002B2CF9AE}" pid="26" name="MSIP_Label_f31142f3-8099-46d1-8755-df3fda1ce27f_ActionId">
    <vt:lpwstr>3b59ca81-59fe-4773-ae43-24b1f3a7fe03</vt:lpwstr>
  </property>
  <property fmtid="{D5CDD505-2E9C-101B-9397-08002B2CF9AE}" pid="27" name="MSIP_Label_f31142f3-8099-46d1-8755-df3fda1ce27f_ContentBits">
    <vt:lpwstr>0</vt:lpwstr>
  </property>
  <property fmtid="{D5CDD505-2E9C-101B-9397-08002B2CF9AE}" pid="28" name="MSIP_Label_f31142f3-8099-46d1-8755-df3fda1ce27f_Tag">
    <vt:lpwstr>10, 0, 1, 1</vt:lpwstr>
  </property>
</Properties>
</file>